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slides/slide9.xml" ContentType="application/vnd.openxmlformats-officedocument.presentationml.slide+xml"/>
  <Override PartName="/ppt/slides/slide14.xml" ContentType="application/vnd.openxmlformats-officedocument.presentationml.slide+xml"/>
  <Override PartName="/ppt/tags/tag5.xml" ContentType="application/vnd.openxmlformats-officedocument.presentationml.tags+xml"/>
  <Override PartName="/ppt/slides/slide5.xml" ContentType="application/vnd.openxmlformats-officedocument.presentationml.slide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.xml" ContentType="application/vnd.openxmlformats-officedocument.presentationml.slide+xml"/>
  <Override PartName="/ppt/slides/slide26.xml" ContentType="application/vnd.openxmlformats-officedocument.presentationml.slide+xml"/>
  <Override PartName="/ppt/slides/slide34.xml" ContentType="application/vnd.openxmlformats-officedocument.presentationml.slide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22.xml" ContentType="application/vnd.openxmlformats-officedocument.presentationml.slide+xml"/>
  <Override PartName="/ppt/slides/slide30.xml" ContentType="application/vnd.openxmlformats-officedocument.presentationml.slide+xml"/>
  <Default Extension="xml" ContentType="application/xml"/>
  <Override PartName="/ppt/slides/slide19.xml" ContentType="application/vnd.openxmlformats-officedocument.presentationml.slide+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tags/tag6.xml" ContentType="application/vnd.openxmlformats-officedocument.presentationml.tags+xml"/>
  <Override PartName="/ppt/slides/slide6.xml" ContentType="application/vnd.openxmlformats-officedocument.presentationml.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tags/tag2.xml" ContentType="application/vnd.openxmlformats-officedocument.presentationml.tags+xml"/>
  <Override PartName="/ppt/slides/slide27.xml" ContentType="application/vnd.openxmlformats-officedocument.presentationml.slide+xml"/>
  <Override PartName="/ppt/slides/slide35.xml" ContentType="application/vnd.openxmlformats-officedocument.presentationml.slide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slides/slide23.xml" ContentType="application/vnd.openxmlformats-officedocument.presentationml.slide+xml"/>
  <Override PartName="/ppt/slides/slide31.xml" ContentType="application/vnd.openxmlformats-officedocument.presentationml.slide+xml"/>
  <Default Extension="gif" ContentType="image/gif"/>
  <Override PartName="/ppt/slides/slide16.xml" ContentType="application/vnd.openxmlformats-officedocument.presentationml.slide+xml"/>
  <Override PartName="/ppt/slides/slide7.xml" ContentType="application/vnd.openxmlformats-officedocument.presentationml.slide+xml"/>
  <Override PartName="/ppt/charts/chart2.xml" ContentType="application/vnd.openxmlformats-officedocument.drawingml.chart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tags/tag3.xml" ContentType="application/vnd.openxmlformats-officedocument.presentationml.tags+xml"/>
  <Override PartName="/ppt/slides/slide3.xml" ContentType="application/vnd.openxmlformats-officedocument.presentationml.slide+xml"/>
  <Override PartName="/ppt/slides/slide28.xml" ContentType="application/vnd.openxmlformats-officedocument.presentationml.slide+xml"/>
  <Override PartName="/ppt/slides/slide36.xml" ContentType="application/vnd.openxmlformats-officedocument.presentationml.slide+xml"/>
  <Override PartName="/ppt/slides/slide24.xml" ContentType="application/vnd.openxmlformats-officedocument.presentationml.slide+xml"/>
  <Override PartName="/ppt/slides/slide32.xml" ContentType="application/vnd.openxmlformats-officedocument.presentationml.slide+xml"/>
  <Override PartName="/ppt/slides/slide20.xml" ContentType="application/vnd.openxmlformats-officedocument.presentationml.slide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tags/tag4.xml" ContentType="application/vnd.openxmlformats-officedocument.presentationml.tags+xml"/>
  <Override PartName="/ppt/slides/slide4.xml" ContentType="application/vnd.openxmlformats-officedocument.presentationml.slide+xml"/>
  <Override PartName="/ppt/slides/slide37.xml" ContentType="application/vnd.openxmlformats-officedocument.presentationml.slide+xml"/>
  <Override PartName="/ppt/slides/slide29.xml" ContentType="application/vnd.openxmlformats-officedocument.presentationml.slide+xml"/>
  <Override PartName="/ppt/slides/slide25.xml" ContentType="application/vnd.openxmlformats-officedocument.presentationml.slide+xml"/>
  <Override PartName="/ppt/slides/slide33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slides/slide21.xml" ContentType="application/vnd.openxmlformats-officedocument.presentationml.slide+xml"/>
  <Default Extension="bin" ContentType="application/vnd.openxmlformats-officedocument.presentationml.printerSettings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trictFirstAndLastChars="0" saveSubsetFonts="1">
  <p:sldMasterIdLst>
    <p:sldMasterId id="2147483651" r:id="rId1"/>
  </p:sldMasterIdLst>
  <p:notesMasterIdLst>
    <p:notesMasterId r:id="rId39"/>
  </p:notesMasterIdLst>
  <p:sldIdLst>
    <p:sldId id="266" r:id="rId2"/>
    <p:sldId id="377" r:id="rId3"/>
    <p:sldId id="397" r:id="rId4"/>
    <p:sldId id="405" r:id="rId5"/>
    <p:sldId id="396" r:id="rId6"/>
    <p:sldId id="398" r:id="rId7"/>
    <p:sldId id="399" r:id="rId8"/>
    <p:sldId id="400" r:id="rId9"/>
    <p:sldId id="401" r:id="rId10"/>
    <p:sldId id="402" r:id="rId11"/>
    <p:sldId id="403" r:id="rId12"/>
    <p:sldId id="404" r:id="rId13"/>
    <p:sldId id="406" r:id="rId14"/>
    <p:sldId id="408" r:id="rId15"/>
    <p:sldId id="409" r:id="rId16"/>
    <p:sldId id="411" r:id="rId17"/>
    <p:sldId id="416" r:id="rId18"/>
    <p:sldId id="410" r:id="rId19"/>
    <p:sldId id="412" r:id="rId20"/>
    <p:sldId id="415" r:id="rId21"/>
    <p:sldId id="413" r:id="rId22"/>
    <p:sldId id="431" r:id="rId23"/>
    <p:sldId id="414" r:id="rId24"/>
    <p:sldId id="432" r:id="rId25"/>
    <p:sldId id="418" r:id="rId26"/>
    <p:sldId id="423" r:id="rId27"/>
    <p:sldId id="420" r:id="rId28"/>
    <p:sldId id="434" r:id="rId29"/>
    <p:sldId id="417" r:id="rId30"/>
    <p:sldId id="419" r:id="rId31"/>
    <p:sldId id="422" r:id="rId32"/>
    <p:sldId id="421" r:id="rId33"/>
    <p:sldId id="424" r:id="rId34"/>
    <p:sldId id="426" r:id="rId35"/>
    <p:sldId id="429" r:id="rId36"/>
    <p:sldId id="395" r:id="rId37"/>
    <p:sldId id="430" r:id="rId38"/>
  </p:sldIdLst>
  <p:sldSz cx="9906000" cy="6858000" type="A4"/>
  <p:notesSz cx="6858000" cy="9144000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5pPr>
    <a:lvl6pPr marL="2286000" algn="l" defTabSz="457200" rtl="0" eaLnBrk="1" latinLnBrk="0" hangingPunct="1"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6pPr>
    <a:lvl7pPr marL="2743200" algn="l" defTabSz="457200" rtl="0" eaLnBrk="1" latinLnBrk="0" hangingPunct="1"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7pPr>
    <a:lvl8pPr marL="3200400" algn="l" defTabSz="457200" rtl="0" eaLnBrk="1" latinLnBrk="0" hangingPunct="1"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8pPr>
    <a:lvl9pPr marL="3657600" algn="l" defTabSz="457200" rtl="0" eaLnBrk="1" latinLnBrk="0" hangingPunct="1">
      <a:defRPr kumimoji="1" kern="1200">
        <a:solidFill>
          <a:schemeClr val="tx1"/>
        </a:solidFill>
        <a:latin typeface="굴림" pitchFamily="50" charset="-128"/>
        <a:ea typeface="굴림" pitchFamily="50" charset="-128"/>
        <a:cs typeface="굴림" pitchFamily="50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prnPr/>
  <p:clrMru>
    <a:srgbClr val="4D8017"/>
    <a:srgbClr val="C6D8EC"/>
    <a:srgbClr val="FEF6B8"/>
    <a:srgbClr val="F8A9A9"/>
    <a:srgbClr val="D0F3AD"/>
    <a:srgbClr val="E0D1DB"/>
    <a:srgbClr val="D5E8DD"/>
    <a:srgbClr val="FDE0C2"/>
    <a:srgbClr val="F1F6C3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밝은 스타일 1 - 강조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보통 스타일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15620"/>
    <p:restoredTop sz="95431" autoAdjust="0"/>
  </p:normalViewPr>
  <p:slideViewPr>
    <p:cSldViewPr>
      <p:cViewPr>
        <p:scale>
          <a:sx n="85" d="100"/>
          <a:sy n="85" d="100"/>
        </p:scale>
        <p:origin x="-400" y="-272"/>
      </p:cViewPr>
      <p:guideLst>
        <p:guide orient="horz" pos="2160"/>
        <p:guide orient="horz" pos="1143"/>
        <p:guide pos="3248"/>
        <p:guide pos="143"/>
        <p:guide pos="60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3" d="100"/>
          <a:sy n="63" d="100"/>
        </p:scale>
        <p:origin x="-1578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notesMaster" Target="notesMasters/notesMaster1.xml"/><Relationship Id="rId40" Type="http://schemas.openxmlformats.org/officeDocument/2006/relationships/printerSettings" Target="printerSettings/printerSettings1.bin"/><Relationship Id="rId41" Type="http://schemas.openxmlformats.org/officeDocument/2006/relationships/presProps" Target="presProps.xml"/><Relationship Id="rId42" Type="http://schemas.openxmlformats.org/officeDocument/2006/relationships/viewProps" Target="viewProps.xml"/><Relationship Id="rId43" Type="http://schemas.openxmlformats.org/officeDocument/2006/relationships/theme" Target="theme/theme1.xml"/><Relationship Id="rId4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8"/>
  <c:chart>
    <c:plotArea>
      <c:layout/>
      <c:barChart>
        <c:barDir val="bar"/>
        <c:grouping val="clustered"/>
        <c:ser>
          <c:idx val="0"/>
          <c:order val="0"/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C$3:$C$13</c:f>
              <c:strCache>
                <c:ptCount val="11"/>
                <c:pt idx="0">
                  <c:v>Price</c:v>
                </c:pt>
                <c:pt idx="1">
                  <c:v>Source Code Access</c:v>
                </c:pt>
                <c:pt idx="2">
                  <c:v>Community Code Review</c:v>
                </c:pt>
                <c:pt idx="3">
                  <c:v>Don’t Know</c:v>
                </c:pt>
                <c:pt idx="4">
                  <c:v>Bug Fix Turnaround</c:v>
                </c:pt>
                <c:pt idx="5">
                  <c:v>Security</c:v>
                </c:pt>
                <c:pt idx="6">
                  <c:v>Code Quality</c:v>
                </c:pt>
                <c:pt idx="7">
                  <c:v>Best Product Functionality</c:v>
                </c:pt>
                <c:pt idx="8">
                  <c:v>Easier to Adopt in Organization</c:v>
                </c:pt>
                <c:pt idx="9">
                  <c:v>Other</c:v>
                </c:pt>
                <c:pt idx="10">
                  <c:v>IP Protection</c:v>
                </c:pt>
              </c:strCache>
            </c:strRef>
          </c:cat>
          <c:val>
            <c:numRef>
              <c:f>Sheet1!$D$3:$D$13</c:f>
              <c:numCache>
                <c:formatCode>0%</c:formatCode>
                <c:ptCount val="11"/>
                <c:pt idx="0">
                  <c:v>0.8</c:v>
                </c:pt>
                <c:pt idx="1">
                  <c:v>0.57</c:v>
                </c:pt>
                <c:pt idx="2">
                  <c:v>0.41</c:v>
                </c:pt>
                <c:pt idx="3">
                  <c:v>0.2</c:v>
                </c:pt>
                <c:pt idx="4">
                  <c:v>0.18</c:v>
                </c:pt>
                <c:pt idx="5">
                  <c:v>0.15</c:v>
                </c:pt>
                <c:pt idx="6">
                  <c:v>0.15</c:v>
                </c:pt>
                <c:pt idx="7">
                  <c:v>0.15</c:v>
                </c:pt>
                <c:pt idx="8">
                  <c:v>0.1</c:v>
                </c:pt>
                <c:pt idx="9">
                  <c:v>0.06</c:v>
                </c:pt>
                <c:pt idx="10">
                  <c:v>0.05</c:v>
                </c:pt>
              </c:numCache>
            </c:numRef>
          </c:val>
        </c:ser>
        <c:axId val="442316760"/>
        <c:axId val="353371112"/>
      </c:barChart>
      <c:catAx>
        <c:axId val="442316760"/>
        <c:scaling>
          <c:orientation val="maxMin"/>
        </c:scaling>
        <c:axPos val="l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53371112"/>
        <c:crosses val="autoZero"/>
        <c:auto val="1"/>
        <c:lblAlgn val="ctr"/>
        <c:lblOffset val="100"/>
        <c:tickLblSkip val="1"/>
        <c:tickMarkSkip val="1"/>
      </c:catAx>
      <c:valAx>
        <c:axId val="353371112"/>
        <c:scaling>
          <c:orientation val="minMax"/>
          <c:max val="1.0"/>
        </c:scaling>
        <c:axPos val="b"/>
        <c:majorGridlines/>
        <c:numFmt formatCode="0%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442316760"/>
        <c:crosses val="max"/>
        <c:crossBetween val="between"/>
        <c:majorUnit val="0.2"/>
      </c:valAx>
    </c:plotArea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8"/>
  <c:chart>
    <c:plotArea>
      <c:layout/>
      <c:barChart>
        <c:barDir val="bar"/>
        <c:grouping val="clustered"/>
        <c:ser>
          <c:idx val="0"/>
          <c:order val="0"/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C$25:$C$35</c:f>
              <c:strCache>
                <c:ptCount val="11"/>
                <c:pt idx="0">
                  <c:v>Vendor Professional Services</c:v>
                </c:pt>
                <c:pt idx="1">
                  <c:v>Easier to Adopt in Organization</c:v>
                </c:pt>
                <c:pt idx="2">
                  <c:v>Automated Updates</c:v>
                </c:pt>
                <c:pt idx="3">
                  <c:v>Reduced IT Support</c:v>
                </c:pt>
                <c:pt idx="4">
                  <c:v>Best Product Functionality</c:v>
                </c:pt>
                <c:pt idx="5">
                  <c:v>Security</c:v>
                </c:pt>
                <c:pt idx="6">
                  <c:v>Code Quality</c:v>
                </c:pt>
                <c:pt idx="7">
                  <c:v>Don't Know</c:v>
                </c:pt>
                <c:pt idx="8">
                  <c:v>IP Protection</c:v>
                </c:pt>
                <c:pt idx="9">
                  <c:v>Other</c:v>
                </c:pt>
                <c:pt idx="10">
                  <c:v>Price</c:v>
                </c:pt>
              </c:strCache>
            </c:strRef>
          </c:cat>
          <c:val>
            <c:numRef>
              <c:f>Sheet1!$D$25:$D$35</c:f>
              <c:numCache>
                <c:formatCode>0%</c:formatCode>
                <c:ptCount val="11"/>
                <c:pt idx="0">
                  <c:v>0.65</c:v>
                </c:pt>
                <c:pt idx="1">
                  <c:v>0.47</c:v>
                </c:pt>
                <c:pt idx="2">
                  <c:v>0.44</c:v>
                </c:pt>
                <c:pt idx="3">
                  <c:v>0.35</c:v>
                </c:pt>
                <c:pt idx="4">
                  <c:v>0.28</c:v>
                </c:pt>
                <c:pt idx="5">
                  <c:v>0.23</c:v>
                </c:pt>
                <c:pt idx="6">
                  <c:v>0.17</c:v>
                </c:pt>
                <c:pt idx="7">
                  <c:v>0.09</c:v>
                </c:pt>
                <c:pt idx="8">
                  <c:v>0.07</c:v>
                </c:pt>
                <c:pt idx="9">
                  <c:v>0.04</c:v>
                </c:pt>
                <c:pt idx="10">
                  <c:v>0.03</c:v>
                </c:pt>
              </c:numCache>
            </c:numRef>
          </c:val>
        </c:ser>
        <c:axId val="354161112"/>
        <c:axId val="434455352"/>
      </c:barChart>
      <c:catAx>
        <c:axId val="354161112"/>
        <c:scaling>
          <c:orientation val="maxMin"/>
        </c:scaling>
        <c:axPos val="l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434455352"/>
        <c:crosses val="autoZero"/>
        <c:auto val="1"/>
        <c:lblAlgn val="ctr"/>
        <c:lblOffset val="100"/>
        <c:tickLblSkip val="1"/>
        <c:tickMarkSkip val="1"/>
      </c:catAx>
      <c:valAx>
        <c:axId val="434455352"/>
        <c:scaling>
          <c:orientation val="minMax"/>
        </c:scaling>
        <c:axPos val="b"/>
        <c:majorGridlines/>
        <c:numFmt formatCode="0%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54161112"/>
        <c:crosses val="max"/>
        <c:crossBetween val="between"/>
      </c:valAx>
    </c:plotArea>
    <c:plotVisOnly val="1"/>
  </c:chart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kumimoji="0" sz="1200">
                <a:latin typeface="맑은 고딕" pitchFamily="50" charset="-128"/>
                <a:ea typeface="맑은 고딕" pitchFamily="50" charset="-128"/>
                <a:cs typeface="맑은 고딕" pitchFamily="50" charset="-128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kumimoji="0" sz="1200">
                <a:latin typeface="맑은 고딕" pitchFamily="50" charset="-128"/>
                <a:ea typeface="맑은 고딕" pitchFamily="50" charset="-128"/>
                <a:cs typeface="맑은 고딕" pitchFamily="50" charset="-128"/>
              </a:defRPr>
            </a:lvl1pPr>
          </a:lstStyle>
          <a:p>
            <a:pPr>
              <a:defRPr/>
            </a:pPr>
            <a:fld id="{87271AE6-D0B1-AA47-88FE-716E07697481}" type="datetime1">
              <a:rPr lang="ko-KR" altLang="en-US"/>
              <a:pPr>
                <a:defRPr/>
              </a:pPr>
              <a:t>10/31/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kumimoji="0" sz="1200">
                <a:latin typeface="맑은 고딕" pitchFamily="50" charset="-128"/>
                <a:ea typeface="맑은 고딕" pitchFamily="50" charset="-128"/>
                <a:cs typeface="맑은 고딕" pitchFamily="50" charset="-128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kumimoji="0" sz="1200">
                <a:latin typeface="맑은 고딕" pitchFamily="50" charset="-128"/>
                <a:ea typeface="맑은 고딕" pitchFamily="50" charset="-128"/>
                <a:cs typeface="맑은 고딕" pitchFamily="50" charset="-128"/>
              </a:defRPr>
            </a:lvl1pPr>
          </a:lstStyle>
          <a:p>
            <a:pPr>
              <a:defRPr/>
            </a:pPr>
            <a:fld id="{B3B64855-A6CE-B943-8FEC-1FFE2BF27997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 pitchFamily="50" charset="-128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 pitchFamily="50" charset="-128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 pitchFamily="50" charset="-128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 pitchFamily="50" charset="-128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맑은 고딕" pitchFamily="50" charset="-128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7"/>
          <p:cNvSpPr>
            <a:spLocks noChangeArrowheads="1"/>
          </p:cNvSpPr>
          <p:nvPr userDrawn="1"/>
        </p:nvSpPr>
        <p:spPr bwMode="auto">
          <a:xfrm>
            <a:off x="0" y="836613"/>
            <a:ext cx="9906000" cy="88900"/>
          </a:xfrm>
          <a:prstGeom prst="rect">
            <a:avLst/>
          </a:prstGeom>
          <a:gradFill rotWithShape="1">
            <a:gsLst>
              <a:gs pos="0">
                <a:srgbClr val="5F5F5F"/>
              </a:gs>
              <a:gs pos="100000">
                <a:srgbClr val="FFFFFF">
                  <a:alpha val="37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>
            <a:prstTxWarp prst="textNoShape">
              <a:avLst/>
            </a:prstTxWarp>
          </a:bodyPr>
          <a:lstStyle/>
          <a:p>
            <a:pPr latinLnBrk="0">
              <a:defRPr/>
            </a:pPr>
            <a:endParaRPr kumimoji="0" lang="ko-KR" altLang="en-US">
              <a:solidFill>
                <a:srgbClr val="000000"/>
              </a:solidFill>
              <a:latin typeface="맑은 고딕" pitchFamily="50" charset="-128"/>
              <a:ea typeface="맑은 고딕" pitchFamily="50" charset="-128"/>
              <a:cs typeface="맑은 고딕" pitchFamily="50" charset="-128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0" y="6630988"/>
            <a:ext cx="368935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>
            <a:lvl1pPr marL="5080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9398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9398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9398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9398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fontAlgn="b">
              <a:spcBef>
                <a:spcPct val="30000"/>
              </a:spcBef>
              <a:buFont typeface="Arial" charset="0"/>
              <a:buNone/>
              <a:defRPr/>
            </a:pPr>
            <a:r>
              <a:rPr lang="en-US" sz="1100" dirty="0" smtClean="0">
                <a:solidFill>
                  <a:srgbClr val="000000"/>
                </a:solidFill>
                <a:latin typeface="Tw Cen MT" pitchFamily="34" charset="0"/>
                <a:cs typeface="+mn-cs"/>
              </a:rPr>
              <a:t>OSGeo</a:t>
            </a:r>
            <a:r>
              <a:rPr lang="en-US" sz="1100" baseline="0" dirty="0" smtClean="0">
                <a:solidFill>
                  <a:srgbClr val="000000"/>
                </a:solidFill>
                <a:latin typeface="Tw Cen MT" pitchFamily="34" charset="0"/>
                <a:cs typeface="+mn-cs"/>
              </a:rPr>
              <a:t> Korean Language Chapter</a:t>
            </a:r>
            <a:endParaRPr lang="en-US" sz="1100" dirty="0" smtClean="0">
              <a:solidFill>
                <a:srgbClr val="000000"/>
              </a:solidFill>
              <a:latin typeface="Tw Cen MT" pitchFamily="34" charset="0"/>
              <a:cs typeface="+mn-cs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6553200" y="6629400"/>
            <a:ext cx="327660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>
            <a:lvl1pPr marL="5080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9398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9398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9398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9398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9398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r" fontAlgn="b">
              <a:spcBef>
                <a:spcPct val="30000"/>
              </a:spcBef>
              <a:buFont typeface="Arial" charset="0"/>
              <a:buNone/>
              <a:defRPr/>
            </a:pPr>
            <a:r>
              <a:rPr lang="en-US" sz="1100" dirty="0" smtClean="0">
                <a:solidFill>
                  <a:srgbClr val="000000"/>
                </a:solidFill>
                <a:latin typeface="Tw Cen MT" pitchFamily="34" charset="0"/>
                <a:cs typeface="+mn-cs"/>
              </a:rPr>
              <a:t>Shin, Sanghee(endofcap@gmail.com)</a:t>
            </a:r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0"/>
          </p:nvPr>
        </p:nvSpPr>
        <p:spPr>
          <a:xfrm>
            <a:off x="4089400" y="6621463"/>
            <a:ext cx="2311400" cy="1889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900">
                <a:latin typeface="Tw Cen MT" charset="0"/>
              </a:defRPr>
            </a:lvl1pPr>
          </a:lstStyle>
          <a:p>
            <a:pPr>
              <a:defRPr/>
            </a:pPr>
            <a:fld id="{2EA72EDF-3DF3-D54A-B87D-E1CF9DCD2A18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2" r:id="rId2"/>
  </p:sldLayoutIdLst>
  <p:hf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lang="ko-KR" altLang="en-US" sz="1600" kern="1200" dirty="0">
          <a:solidFill>
            <a:srgbClr val="000000"/>
          </a:solidFill>
          <a:latin typeface="Arial" pitchFamily="34" charset="0"/>
          <a:ea typeface="HY헤드라인M" pitchFamily="18" charset="-127"/>
          <a:cs typeface="HY헤드라인M" pitchFamily="18" charset="-128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rgbClr val="000000"/>
          </a:solidFill>
          <a:latin typeface="Arial" charset="0"/>
          <a:ea typeface="HY헤드라인M" pitchFamily="18" charset="-127"/>
          <a:cs typeface="HY헤드라인M" pitchFamily="18" charset="-128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rgbClr val="000000"/>
          </a:solidFill>
          <a:latin typeface="Arial" charset="0"/>
          <a:ea typeface="HY헤드라인M" pitchFamily="18" charset="-127"/>
          <a:cs typeface="HY헤드라인M" pitchFamily="18" charset="-128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rgbClr val="000000"/>
          </a:solidFill>
          <a:latin typeface="Arial" charset="0"/>
          <a:ea typeface="HY헤드라인M" pitchFamily="18" charset="-127"/>
          <a:cs typeface="HY헤드라인M" pitchFamily="18" charset="-128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rgbClr val="000000"/>
          </a:solidFill>
          <a:latin typeface="Arial" charset="0"/>
          <a:ea typeface="HY헤드라인M" pitchFamily="18" charset="-127"/>
          <a:cs typeface="HY헤드라인M" pitchFamily="18" charset="-128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1600">
          <a:solidFill>
            <a:srgbClr val="000000"/>
          </a:solidFill>
          <a:latin typeface="Arial" charset="0"/>
          <a:ea typeface="HY헤드라인M" pitchFamily="18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1600">
          <a:solidFill>
            <a:srgbClr val="000000"/>
          </a:solidFill>
          <a:latin typeface="Arial" charset="0"/>
          <a:ea typeface="HY헤드라인M" pitchFamily="18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1600">
          <a:solidFill>
            <a:srgbClr val="000000"/>
          </a:solidFill>
          <a:latin typeface="Arial" charset="0"/>
          <a:ea typeface="HY헤드라인M" pitchFamily="18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1600">
          <a:solidFill>
            <a:srgbClr val="000000"/>
          </a:solidFill>
          <a:latin typeface="Arial" charset="0"/>
          <a:ea typeface="HY헤드라인M" pitchFamily="18" charset="-127"/>
        </a:defRPr>
      </a:lvl9pPr>
    </p:titleStyle>
    <p:bodyStyle>
      <a:lvl1pPr marL="165100" indent="-114300" algn="l" defTabSz="939800" rtl="0" eaLnBrk="0" fontAlgn="b" latinLnBrk="1" hangingPunct="0">
        <a:spcBef>
          <a:spcPct val="30000"/>
        </a:spcBef>
        <a:spcAft>
          <a:spcPct val="0"/>
        </a:spcAft>
        <a:buFont typeface="Wingdings" charset="2"/>
        <a:buChar char="§"/>
        <a:defRPr lang="ko-KR" altLang="en-US" sz="1400" kern="1200" dirty="0">
          <a:solidFill>
            <a:srgbClr val="000000"/>
          </a:solidFill>
          <a:latin typeface="+mn-lt"/>
          <a:ea typeface="+mn-ea"/>
          <a:cs typeface="맑은 고딕" pitchFamily="50" charset="-128"/>
        </a:defRPr>
      </a:lvl1pPr>
      <a:lvl2pPr marL="342900" indent="-152400" algn="l" defTabSz="939800" rtl="0" eaLnBrk="0" fontAlgn="b" latinLnBrk="1" hangingPunct="0">
        <a:spcBef>
          <a:spcPct val="30000"/>
        </a:spcBef>
        <a:spcAft>
          <a:spcPct val="0"/>
        </a:spcAft>
        <a:buFont typeface="Arial" charset="0"/>
        <a:buChar char="–"/>
        <a:defRPr lang="ko-KR" altLang="en-US" sz="1400" kern="1200" dirty="0">
          <a:solidFill>
            <a:srgbClr val="000000"/>
          </a:solidFill>
          <a:latin typeface="+mn-lt"/>
          <a:ea typeface="+mn-ea"/>
          <a:cs typeface="맑은 고딕" pitchFamily="50" charset="-128"/>
        </a:defRPr>
      </a:lvl2pPr>
      <a:lvl3pPr marL="533400" indent="-114300" algn="l" defTabSz="939800" rtl="0" eaLnBrk="0" fontAlgn="b" latinLnBrk="1" hangingPunct="0">
        <a:spcBef>
          <a:spcPct val="30000"/>
        </a:spcBef>
        <a:spcAft>
          <a:spcPct val="0"/>
        </a:spcAft>
        <a:buFont typeface="Arial" charset="0"/>
        <a:buChar char="•"/>
        <a:defRPr lang="ko-KR" altLang="en-US" sz="1400" kern="1200" dirty="0">
          <a:solidFill>
            <a:srgbClr val="000000"/>
          </a:solidFill>
          <a:latin typeface="+mn-lt"/>
          <a:ea typeface="+mn-ea"/>
          <a:cs typeface="맑은 고딕" pitchFamily="50" charset="-128"/>
        </a:defRPr>
      </a:lvl3pPr>
      <a:lvl4pPr marL="736600" indent="-152400" algn="l" defTabSz="939800" rtl="0" eaLnBrk="0" fontAlgn="b" latinLnBrk="1" hangingPunct="0">
        <a:spcBef>
          <a:spcPct val="30000"/>
        </a:spcBef>
        <a:spcAft>
          <a:spcPct val="0"/>
        </a:spcAft>
        <a:buFont typeface="Arial" charset="0"/>
        <a:buChar char="–"/>
        <a:defRPr lang="ko-KR" altLang="en-US" sz="1400" kern="1200" dirty="0">
          <a:solidFill>
            <a:srgbClr val="000000"/>
          </a:solidFill>
          <a:latin typeface="+mn-lt"/>
          <a:ea typeface="+mn-ea"/>
          <a:cs typeface="맑은 고딕" pitchFamily="50" charset="-128"/>
        </a:defRPr>
      </a:lvl4pPr>
      <a:lvl5pPr marL="901700" indent="-127000" algn="l" defTabSz="939800" rtl="0" eaLnBrk="0" fontAlgn="b" latinLnBrk="1" hangingPunct="0">
        <a:spcBef>
          <a:spcPct val="30000"/>
        </a:spcBef>
        <a:spcAft>
          <a:spcPct val="0"/>
        </a:spcAft>
        <a:buFont typeface="Arial" charset="0"/>
        <a:buChar char="»"/>
        <a:defRPr lang="ko-KR" altLang="en-US" sz="1400" kern="1200" dirty="0">
          <a:solidFill>
            <a:srgbClr val="000000"/>
          </a:solidFill>
          <a:latin typeface="+mn-lt"/>
          <a:ea typeface="+mn-ea"/>
          <a:cs typeface="맑은 고딕" pitchFamily="50" charset="-128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jpeg"/><Relationship Id="rId3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4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5" Type="http://schemas.openxmlformats.org/officeDocument/2006/relationships/image" Target="../media/image34.jpeg"/><Relationship Id="rId6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4" Type="http://schemas.openxmlformats.org/officeDocument/2006/relationships/image" Target="../media/image38.jpeg"/><Relationship Id="rId5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4" Type="http://schemas.openxmlformats.org/officeDocument/2006/relationships/image" Target="../media/image34.jpeg"/><Relationship Id="rId5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3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.xml"/></Relationships>
</file>

<file path=ppt/slides/_rels/slide3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7.jpeg"/><Relationship Id="rId12" Type="http://schemas.openxmlformats.org/officeDocument/2006/relationships/image" Target="../media/image34.jpeg"/><Relationship Id="rId13" Type="http://schemas.openxmlformats.org/officeDocument/2006/relationships/image" Target="../media/image48.png"/><Relationship Id="rId14" Type="http://schemas.openxmlformats.org/officeDocument/2006/relationships/image" Target="../media/image49.png"/><Relationship Id="rId15" Type="http://schemas.openxmlformats.org/officeDocument/2006/relationships/image" Target="../media/image50.pn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slideLayout" Target="../slideLayouts/slideLayout2.xml"/><Relationship Id="rId8" Type="http://schemas.openxmlformats.org/officeDocument/2006/relationships/image" Target="../media/image44.jpeg"/><Relationship Id="rId9" Type="http://schemas.openxmlformats.org/officeDocument/2006/relationships/image" Target="../media/image45.jpeg"/><Relationship Id="rId10" Type="http://schemas.openxmlformats.org/officeDocument/2006/relationships/image" Target="../media/image46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1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4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gif"/><Relationship Id="rId3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jpeg"/><Relationship Id="rId3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Box 3"/>
          <p:cNvSpPr txBox="1">
            <a:spLocks noChangeArrowheads="1"/>
          </p:cNvSpPr>
          <p:nvPr/>
        </p:nvSpPr>
        <p:spPr bwMode="auto">
          <a:xfrm>
            <a:off x="5791200" y="5257800"/>
            <a:ext cx="3995739" cy="1526572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50800" defTabSz="939800" eaLnBrk="0" fontAlgn="b" hangingPunct="0">
              <a:spcBef>
                <a:spcPct val="30000"/>
              </a:spcBef>
            </a:pPr>
            <a:r>
              <a:rPr lang="en-US" sz="1600" b="1" dirty="0" smtClean="0">
                <a:solidFill>
                  <a:srgbClr val="000000"/>
                </a:solidFill>
              </a:rPr>
              <a:t>28th, Oct 2011</a:t>
            </a:r>
            <a:endParaRPr lang="en-US" altLang="ko-KR" sz="1600" b="1" dirty="0" smtClean="0">
              <a:solidFill>
                <a:srgbClr val="000000"/>
              </a:solidFill>
              <a:latin typeface="맑은 고딕" pitchFamily="50" charset="-128"/>
              <a:ea typeface="맑은 고딕" pitchFamily="50" charset="-128"/>
              <a:cs typeface="맑은 고딕" pitchFamily="50" charset="-128"/>
            </a:endParaRPr>
          </a:p>
          <a:p>
            <a:pPr marL="50800" defTabSz="939800" eaLnBrk="0" fontAlgn="b" hangingPunct="0">
              <a:spcBef>
                <a:spcPct val="30000"/>
              </a:spcBef>
            </a:pPr>
            <a:r>
              <a:rPr lang="en-US" sz="1600" b="1" dirty="0" smtClean="0">
                <a:solidFill>
                  <a:srgbClr val="000000"/>
                </a:solidFill>
              </a:rPr>
              <a:t>FOSS4G Korea 2011 Keynote Talk</a:t>
            </a:r>
          </a:p>
          <a:p>
            <a:pPr marL="50800" defTabSz="939800" eaLnBrk="0" fontAlgn="b" hangingPunct="0">
              <a:spcBef>
                <a:spcPct val="30000"/>
              </a:spcBef>
            </a:pPr>
            <a:endParaRPr lang="en-US" sz="1600" b="1" dirty="0" smtClean="0">
              <a:solidFill>
                <a:srgbClr val="000000"/>
              </a:solidFill>
            </a:endParaRPr>
          </a:p>
          <a:p>
            <a:pPr marL="50800" defTabSz="939800" eaLnBrk="0" fontAlgn="b" hangingPunct="0">
              <a:spcBef>
                <a:spcPct val="30000"/>
              </a:spcBef>
            </a:pPr>
            <a:r>
              <a:rPr lang="en-US" altLang="ko-KR" sz="1600" b="1" dirty="0" smtClean="0">
                <a:solidFill>
                  <a:srgbClr val="000000"/>
                </a:solidFill>
                <a:latin typeface="맑은 고딕" pitchFamily="50" charset="-128"/>
                <a:ea typeface="맑은 고딕" pitchFamily="50" charset="-128"/>
                <a:cs typeface="맑은 고딕" pitchFamily="50" charset="-128"/>
              </a:rPr>
              <a:t>OSGeo Korean Language Chapter</a:t>
            </a:r>
          </a:p>
          <a:p>
            <a:pPr marL="50800" defTabSz="939800" eaLnBrk="0" fontAlgn="b" hangingPunct="0">
              <a:spcBef>
                <a:spcPct val="30000"/>
              </a:spcBef>
            </a:pPr>
            <a:r>
              <a:rPr lang="en-US" sz="1600" b="1" dirty="0" smtClean="0">
                <a:solidFill>
                  <a:srgbClr val="000000"/>
                </a:solidFill>
                <a:latin typeface="맑은 고딕" pitchFamily="50" charset="-128"/>
                <a:ea typeface="맑은 고딕" pitchFamily="50" charset="-128"/>
                <a:cs typeface="맑은 고딕" pitchFamily="50" charset="-128"/>
              </a:rPr>
              <a:t>Shin</a:t>
            </a:r>
            <a:r>
              <a:rPr lang="en-US" sz="1600" b="1" dirty="0">
                <a:solidFill>
                  <a:srgbClr val="000000"/>
                </a:solidFill>
                <a:latin typeface="맑은 고딕" pitchFamily="50" charset="-128"/>
                <a:ea typeface="맑은 고딕" pitchFamily="50" charset="-128"/>
                <a:cs typeface="맑은 고딕" pitchFamily="50" charset="-128"/>
              </a:rPr>
              <a:t>, </a:t>
            </a:r>
            <a:r>
              <a:rPr lang="en-US" sz="1600" b="1" dirty="0" err="1" smtClean="0">
                <a:solidFill>
                  <a:srgbClr val="000000"/>
                </a:solidFill>
                <a:latin typeface="맑은 고딕" pitchFamily="50" charset="-128"/>
                <a:ea typeface="맑은 고딕" pitchFamily="50" charset="-128"/>
                <a:cs typeface="맑은 고딕" pitchFamily="50" charset="-128"/>
              </a:rPr>
              <a:t>Sanghee(endofcap@gmail.com</a:t>
            </a:r>
            <a:r>
              <a:rPr lang="en-US" sz="1600" b="1" dirty="0" smtClean="0">
                <a:solidFill>
                  <a:srgbClr val="000000"/>
                </a:solidFill>
                <a:latin typeface="맑은 고딕" pitchFamily="50" charset="-128"/>
                <a:ea typeface="맑은 고딕" pitchFamily="50" charset="-128"/>
                <a:cs typeface="맑은 고딕" pitchFamily="50" charset="-128"/>
              </a:rPr>
              <a:t>)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7650" y="2191941"/>
            <a:ext cx="9505950" cy="1846659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50800" algn="ctr" defTabSz="939800" eaLnBrk="0" fontAlgn="b" hangingPunct="0">
              <a:spcBef>
                <a:spcPct val="30000"/>
              </a:spcBef>
            </a:pPr>
            <a:r>
              <a:rPr lang="en-US" sz="4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맑은 고딕" pitchFamily="50" charset="-128"/>
              </a:rPr>
              <a:t>How to Make Money </a:t>
            </a:r>
            <a:br>
              <a:rPr lang="en-US" sz="4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맑은 고딕" pitchFamily="50" charset="-128"/>
              </a:rPr>
            </a:br>
            <a:r>
              <a:rPr lang="en-US" sz="32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맑은 고딕" pitchFamily="50" charset="-128"/>
              </a:rPr>
              <a:t>out of </a:t>
            </a:r>
            <a:r>
              <a:rPr lang="en-US" sz="4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맑은 고딕" pitchFamily="50" charset="-128"/>
              </a:rPr>
              <a:t/>
            </a:r>
            <a:br>
              <a:rPr lang="en-US" sz="4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맑은 고딕" pitchFamily="50" charset="-128"/>
              </a:rPr>
            </a:br>
            <a:r>
              <a:rPr lang="en-US" sz="4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맑은 고딕" pitchFamily="50" charset="-128"/>
              </a:rPr>
              <a:t>Open Source Software?</a:t>
            </a:r>
          </a:p>
        </p:txBody>
      </p:sp>
      <p:pic>
        <p:nvPicPr>
          <p:cNvPr id="6" name="그림 6" descr="OSGeo_logo_750_317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238125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foss4g_kr_md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600" y="0"/>
            <a:ext cx="2819400" cy="1739000"/>
          </a:xfrm>
          <a:prstGeom prst="rect">
            <a:avLst/>
          </a:prstGeom>
        </p:spPr>
      </p:pic>
      <p:sp>
        <p:nvSpPr>
          <p:cNvPr id="13" name="직사각형 21"/>
          <p:cNvSpPr/>
          <p:nvPr/>
        </p:nvSpPr>
        <p:spPr>
          <a:xfrm>
            <a:off x="990600" y="-76200"/>
            <a:ext cx="12954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prstTxWarp prst="textNoShape">
              <a:avLst/>
            </a:prstTxWarp>
          </a:bodyPr>
          <a:lstStyle/>
          <a:p>
            <a:pPr marL="285750" indent="-285750">
              <a:lnSpc>
                <a:spcPct val="150000"/>
              </a:lnSpc>
              <a:defRPr/>
            </a:pPr>
            <a:r>
              <a:rPr lang="ko-KR" altLang="en-US" sz="1500" b="1" dirty="0" smtClean="0">
                <a:solidFill>
                  <a:srgbClr val="008000"/>
                </a:solidFill>
                <a:cs typeface="맑은 고딕" pitchFamily="50" charset="-128"/>
              </a:rPr>
              <a:t>한국어 지부 </a:t>
            </a:r>
            <a:endParaRPr lang="en-US" altLang="ko-KR" sz="1500" b="1" dirty="0">
              <a:solidFill>
                <a:srgbClr val="008000"/>
              </a:solidFill>
              <a:cs typeface="맑은 고딕" pitchFamily="50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스크린샷 2011-10-26 오후 4.13.2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0"/>
            <a:ext cx="8407400" cy="4838700"/>
          </a:xfrm>
          <a:prstGeom prst="rect">
            <a:avLst/>
          </a:prstGeom>
        </p:spPr>
      </p:pic>
      <p:sp>
        <p:nvSpPr>
          <p:cNvPr id="15" name="TextBox 3"/>
          <p:cNvSpPr txBox="1">
            <a:spLocks noChangeArrowheads="1"/>
          </p:cNvSpPr>
          <p:nvPr/>
        </p:nvSpPr>
        <p:spPr bwMode="auto">
          <a:xfrm>
            <a:off x="838200" y="5334000"/>
            <a:ext cx="8223250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en-US" sz="2800" b="1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rPr>
              <a:t>Lower cost of innovation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US" sz="2800" b="1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rPr>
              <a:t>Faster time to market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en-US" sz="2800" b="1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rPr>
              <a:t>Share risk with other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858000" y="3124200"/>
            <a:ext cx="2209800" cy="1676400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스크린샷 2011-10-26 오후 4.26.4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스크린샷 2011-10-26 오후 4.30.0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905999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스크린샷 2011-10-26 오후 4.50.10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6456"/>
            <a:ext cx="9906000" cy="460508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f60d9e029a6c36de942330b7c46d297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2895600"/>
            <a:ext cx="6448926" cy="36576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09600" y="402610"/>
            <a:ext cx="8610600" cy="2492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Let’s sell open source SW</a:t>
            </a:r>
            <a:b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</a:br>
            <a: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at high price</a:t>
            </a:r>
            <a:r>
              <a:rPr lang="ko-KR" alt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 </a:t>
            </a:r>
            <a:r>
              <a:rPr lang="en-US" altLang="ko-KR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/>
            </a:r>
            <a:br>
              <a:rPr lang="en-US" altLang="ko-KR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</a:br>
            <a:r>
              <a:rPr lang="en-US" altLang="ko-KR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like </a:t>
            </a:r>
            <a:r>
              <a:rPr lang="ko-KR" alt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봉이 김선달</a:t>
            </a:r>
            <a:r>
              <a:rPr lang="en-US" altLang="ko-KR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!!</a:t>
            </a:r>
            <a:endParaRPr lang="en-US" sz="5400" b="1" i="1" dirty="0" smtClean="0">
              <a:solidFill>
                <a:srgbClr val="FF6600"/>
              </a:solidFill>
              <a:effectLst>
                <a:glow rad="101600">
                  <a:schemeClr val="accent3">
                    <a:lumMod val="40000"/>
                    <a:lumOff val="60000"/>
                    <a:alpha val="75000"/>
                  </a:schemeClr>
                </a:glow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 rot="16200000" flipV="1">
            <a:off x="-1561552" y="2860999"/>
            <a:ext cx="3870075" cy="1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375070" y="4796035"/>
            <a:ext cx="3867962" cy="1588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3046956" y="4797623"/>
            <a:ext cx="8643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Quantity</a:t>
            </a:r>
            <a:endParaRPr 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144125" y="544961"/>
            <a:ext cx="5937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Price</a:t>
            </a:r>
            <a:endParaRPr lang="en-US" sz="1400" dirty="0"/>
          </a:p>
        </p:txBody>
      </p:sp>
      <p:cxnSp>
        <p:nvCxnSpPr>
          <p:cNvPr id="10" name="Straight Connector 9"/>
          <p:cNvCxnSpPr/>
          <p:nvPr/>
        </p:nvCxnSpPr>
        <p:spPr>
          <a:xfrm rot="16200000" flipH="1">
            <a:off x="890233" y="1330037"/>
            <a:ext cx="2846318" cy="2846318"/>
          </a:xfrm>
          <a:prstGeom prst="line">
            <a:avLst/>
          </a:prstGeom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rot="10800000" flipH="1">
            <a:off x="966433" y="1482437"/>
            <a:ext cx="2846318" cy="284631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rot="5400000">
            <a:off x="1461732" y="3833455"/>
            <a:ext cx="1905000" cy="1588"/>
          </a:xfrm>
          <a:prstGeom prst="line">
            <a:avLst/>
          </a:prstGeom>
          <a:ln w="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rot="10800000">
            <a:off x="433032" y="2880955"/>
            <a:ext cx="1905000" cy="1588"/>
          </a:xfrm>
          <a:prstGeom prst="line">
            <a:avLst/>
          </a:prstGeom>
          <a:ln w="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577798" y="975955"/>
            <a:ext cx="120739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</a:rPr>
              <a:t>Demand Curve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635198" y="1204555"/>
            <a:ext cx="107774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</a:rPr>
              <a:t>Supply Curve</a:t>
            </a:r>
          </a:p>
        </p:txBody>
      </p:sp>
      <p:sp>
        <p:nvSpPr>
          <p:cNvPr id="53" name="TextBox 52"/>
          <p:cNvSpPr txBox="1">
            <a:spLocks noChangeArrowheads="1"/>
          </p:cNvSpPr>
          <p:nvPr/>
        </p:nvSpPr>
        <p:spPr bwMode="auto">
          <a:xfrm>
            <a:off x="457200" y="5715000"/>
            <a:ext cx="8991600" cy="615553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 This is Free Economy!!</a:t>
            </a:r>
            <a:endParaRPr lang="en-US" altLang="ko-KR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4463998" y="544961"/>
            <a:ext cx="5289602" cy="4560439"/>
            <a:chOff x="4463998" y="544961"/>
            <a:chExt cx="5289602" cy="4560439"/>
          </a:xfrm>
        </p:grpSpPr>
        <p:sp>
          <p:nvSpPr>
            <p:cNvPr id="18" name="Chevron 17"/>
            <p:cNvSpPr/>
            <p:nvPr/>
          </p:nvSpPr>
          <p:spPr>
            <a:xfrm>
              <a:off x="4463998" y="2499955"/>
              <a:ext cx="608768" cy="989598"/>
            </a:xfrm>
            <a:prstGeom prst="chevron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31" name="Straight Arrow Connector 30"/>
            <p:cNvCxnSpPr/>
            <p:nvPr/>
          </p:nvCxnSpPr>
          <p:spPr>
            <a:xfrm rot="16200000" flipV="1">
              <a:off x="3764814" y="2860999"/>
              <a:ext cx="3870075" cy="1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>
              <a:off x="5701436" y="4796035"/>
              <a:ext cx="3867962" cy="1588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8373322" y="4797623"/>
              <a:ext cx="8643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Quantity</a:t>
              </a:r>
              <a:endParaRPr lang="en-US" sz="1400" dirty="0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478125" y="544961"/>
              <a:ext cx="59370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Price</a:t>
              </a:r>
              <a:endParaRPr lang="en-US" sz="1400" dirty="0"/>
            </a:p>
          </p:txBody>
        </p:sp>
        <p:cxnSp>
          <p:nvCxnSpPr>
            <p:cNvPr id="35" name="Straight Connector 34"/>
            <p:cNvCxnSpPr/>
            <p:nvPr/>
          </p:nvCxnSpPr>
          <p:spPr>
            <a:xfrm rot="16200000" flipH="1">
              <a:off x="6216599" y="1330037"/>
              <a:ext cx="2846318" cy="2846318"/>
            </a:xfrm>
            <a:prstGeom prst="line">
              <a:avLst/>
            </a:prstGeom>
            <a:ln w="254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rot="10800000" flipH="1">
              <a:off x="6292799" y="1482437"/>
              <a:ext cx="2846318" cy="2846318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rot="5400000">
              <a:off x="6788098" y="3833455"/>
              <a:ext cx="1905000" cy="1588"/>
            </a:xfrm>
            <a:prstGeom prst="line">
              <a:avLst/>
            </a:prstGeom>
            <a:ln w="0">
              <a:solidFill>
                <a:schemeClr val="tx1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rot="10800000">
              <a:off x="5759398" y="2880955"/>
              <a:ext cx="1905000" cy="1588"/>
            </a:xfrm>
            <a:prstGeom prst="line">
              <a:avLst/>
            </a:prstGeom>
            <a:ln w="0">
              <a:solidFill>
                <a:schemeClr val="tx1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>
              <a:off x="5904164" y="975955"/>
              <a:ext cx="120739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65100" indent="-114300" defTabSz="939800" eaLnBrk="0" fontAlgn="b" hangingPunct="0">
                <a:spcBef>
                  <a:spcPct val="30000"/>
                </a:spcBef>
                <a:spcAft>
                  <a:spcPct val="0"/>
                </a:spcAft>
              </a:pPr>
              <a:r>
                <a:rPr lang="en-US" sz="1400" dirty="0" smtClean="0">
                  <a:solidFill>
                    <a:srgbClr val="000000"/>
                  </a:solidFill>
                </a:rPr>
                <a:t>Demand Curve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961564" y="1204555"/>
              <a:ext cx="122747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65100" indent="-114300" defTabSz="939800" eaLnBrk="0" fontAlgn="b" hangingPunct="0">
                <a:spcBef>
                  <a:spcPct val="30000"/>
                </a:spcBef>
                <a:spcAft>
                  <a:spcPct val="0"/>
                </a:spcAft>
              </a:pPr>
              <a:r>
                <a:rPr lang="en-US" sz="1400" dirty="0" smtClean="0">
                  <a:solidFill>
                    <a:srgbClr val="000000"/>
                  </a:solidFill>
                </a:rPr>
                <a:t>Supply Curve 1</a:t>
              </a:r>
            </a:p>
          </p:txBody>
        </p:sp>
        <p:cxnSp>
          <p:nvCxnSpPr>
            <p:cNvPr id="41" name="Straight Connector 40"/>
            <p:cNvCxnSpPr/>
            <p:nvPr/>
          </p:nvCxnSpPr>
          <p:spPr>
            <a:xfrm rot="5400000" flipH="1" flipV="1">
              <a:off x="8452604" y="3364361"/>
              <a:ext cx="1192994" cy="1192994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rot="10800000">
              <a:off x="5683198" y="4051749"/>
              <a:ext cx="3200400" cy="1588"/>
            </a:xfrm>
            <a:prstGeom prst="line">
              <a:avLst/>
            </a:prstGeom>
            <a:ln w="0">
              <a:solidFill>
                <a:schemeClr val="tx1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rot="5400000">
              <a:off x="8579592" y="4431161"/>
              <a:ext cx="762000" cy="1588"/>
            </a:xfrm>
            <a:prstGeom prst="line">
              <a:avLst/>
            </a:prstGeom>
            <a:ln w="0">
              <a:solidFill>
                <a:schemeClr val="tx1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Box 49"/>
            <p:cNvSpPr txBox="1"/>
            <p:nvPr/>
          </p:nvSpPr>
          <p:spPr>
            <a:xfrm>
              <a:off x="8526125" y="3059561"/>
              <a:ext cx="122747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65100" indent="-114300" defTabSz="939800" eaLnBrk="0" fontAlgn="b" hangingPunct="0">
                <a:spcBef>
                  <a:spcPct val="30000"/>
                </a:spcBef>
                <a:spcAft>
                  <a:spcPct val="0"/>
                </a:spcAft>
              </a:pPr>
              <a:r>
                <a:rPr lang="en-US" sz="1400" dirty="0" smtClean="0">
                  <a:solidFill>
                    <a:srgbClr val="000000"/>
                  </a:solidFill>
                </a:rPr>
                <a:t>Supply Curve 2</a:t>
              </a:r>
            </a:p>
          </p:txBody>
        </p:sp>
        <p:sp>
          <p:nvSpPr>
            <p:cNvPr id="54" name="Striped Right Arrow 53"/>
            <p:cNvSpPr/>
            <p:nvPr/>
          </p:nvSpPr>
          <p:spPr>
            <a:xfrm rot="2700000">
              <a:off x="7454293" y="3555813"/>
              <a:ext cx="1042239" cy="609600"/>
            </a:xfrm>
            <a:prstGeom prst="striped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609600" y="769203"/>
            <a:ext cx="86106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Changing ‘Free’ to ‘Paid’?</a:t>
            </a:r>
          </a:p>
        </p:txBody>
      </p:sp>
      <p:pic>
        <p:nvPicPr>
          <p:cNvPr id="43" name="Picture 42" descr="images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2387600"/>
            <a:ext cx="3848100" cy="2108200"/>
          </a:xfrm>
          <a:prstGeom prst="rect">
            <a:avLst/>
          </a:prstGeom>
        </p:spPr>
      </p:pic>
      <p:pic>
        <p:nvPicPr>
          <p:cNvPr id="46" name="Picture 45" descr="스크린샷 2011-10-26 오후 6.21.13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4200" y="4521200"/>
            <a:ext cx="3165543" cy="1803400"/>
          </a:xfrm>
          <a:prstGeom prst="rect">
            <a:avLst/>
          </a:prstGeom>
        </p:spPr>
      </p:pic>
      <p:pic>
        <p:nvPicPr>
          <p:cNvPr id="44" name="Picture 43" descr="포트리스2블루포스터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0" y="2286000"/>
            <a:ext cx="3175000" cy="2381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fre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400" y="228600"/>
            <a:ext cx="3033623" cy="4404986"/>
          </a:xfrm>
          <a:prstGeom prst="rect">
            <a:avLst/>
          </a:prstGeom>
        </p:spPr>
      </p:pic>
      <p:pic>
        <p:nvPicPr>
          <p:cNvPr id="46" name="Picture 45" descr="chris-anderson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6400" y="228600"/>
            <a:ext cx="2522876" cy="3048000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457200" y="3200400"/>
            <a:ext cx="51054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ko-KR" altLang="ko-KR" sz="8000" dirty="0" smtClean="0">
                <a:solidFill>
                  <a:srgbClr val="000000"/>
                </a:solidFill>
              </a:rPr>
              <a:t>“</a:t>
            </a:r>
            <a:r>
              <a:rPr lang="en-US" altLang="ko-KR" sz="2800" dirty="0" smtClean="0">
                <a:solidFill>
                  <a:srgbClr val="000000"/>
                </a:solidFill>
                <a:latin typeface="+mn-lt"/>
              </a:rPr>
              <a:t>If it’s digital, sooner or later </a:t>
            </a:r>
            <a:br>
              <a:rPr lang="en-US" altLang="ko-KR" sz="2800" dirty="0" smtClean="0">
                <a:solidFill>
                  <a:srgbClr val="000000"/>
                </a:solidFill>
                <a:latin typeface="+mn-lt"/>
              </a:rPr>
            </a:br>
            <a:r>
              <a:rPr lang="en-US" altLang="ko-KR" sz="2800" dirty="0" smtClean="0">
                <a:solidFill>
                  <a:srgbClr val="000000"/>
                </a:solidFill>
                <a:latin typeface="+mn-lt"/>
              </a:rPr>
              <a:t>   it’s going to be free.</a:t>
            </a:r>
            <a:r>
              <a:rPr lang="en-US" altLang="ko-KR" sz="2400" dirty="0" smtClean="0">
                <a:solidFill>
                  <a:srgbClr val="000000"/>
                </a:solidFill>
              </a:rPr>
              <a:t>	</a:t>
            </a:r>
            <a:r>
              <a:rPr lang="ko-KR" altLang="en-US" sz="2400" dirty="0" smtClean="0">
                <a:solidFill>
                  <a:srgbClr val="000000"/>
                </a:solidFill>
              </a:rPr>
              <a:t>                                          </a:t>
            </a:r>
            <a:r>
              <a:rPr lang="en-US" altLang="ko-KR" sz="2400" dirty="0" smtClean="0">
                <a:solidFill>
                  <a:srgbClr val="000000"/>
                </a:solidFill>
              </a:rPr>
              <a:t>                            </a:t>
            </a:r>
            <a:r>
              <a:rPr lang="en-US" altLang="ko-KR" sz="8000" dirty="0" smtClean="0">
                <a:solidFill>
                  <a:srgbClr val="000000"/>
                </a:solidFill>
              </a:rPr>
              <a:t>”</a:t>
            </a:r>
            <a:endParaRPr lang="en-US" sz="8000" dirty="0" smtClean="0">
              <a:solidFill>
                <a:srgbClr val="000000"/>
              </a:solidFill>
            </a:endParaRP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533400" y="6019800"/>
            <a:ext cx="8991600" cy="553998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 Abundance wants to be free!!</a:t>
            </a:r>
            <a:endParaRPr lang="en-US" altLang="ko-KR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381000" y="2148006"/>
            <a:ext cx="9144000" cy="1661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And then how can we </a:t>
            </a:r>
            <a:b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</a:br>
            <a: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earn money out of ‘Free’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14_jjpure9999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9200" y="1143000"/>
            <a:ext cx="3606800" cy="33909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 descr="images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52400"/>
            <a:ext cx="3492500" cy="23241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 descr="스크린샷 2011-10-26 오후 6.28.3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7800" y="3200400"/>
            <a:ext cx="4343400" cy="330418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TextBox 7"/>
          <p:cNvSpPr txBox="1"/>
          <p:nvPr/>
        </p:nvSpPr>
        <p:spPr>
          <a:xfrm>
            <a:off x="2519082" y="2527756"/>
            <a:ext cx="36915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</a:rPr>
              <a:t>Fre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643273" y="4585156"/>
            <a:ext cx="81492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rgbClr val="000000"/>
                </a:solidFill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</a:rPr>
              <a:t>KRW 800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95600" y="6494638"/>
            <a:ext cx="96465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rgbClr val="000000"/>
                </a:solidFill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</a:rPr>
              <a:t>KRW 5,000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op_secret.gi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292925">
            <a:off x="1905000" y="990600"/>
            <a:ext cx="6172200" cy="448561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1313794" y="-362606"/>
            <a:ext cx="7162800" cy="7162800"/>
            <a:chOff x="1313794" y="-362606"/>
            <a:chExt cx="7162800" cy="7162800"/>
          </a:xfrm>
        </p:grpSpPr>
        <p:cxnSp>
          <p:nvCxnSpPr>
            <p:cNvPr id="7" name="Straight Connector 6"/>
            <p:cNvCxnSpPr/>
            <p:nvPr/>
          </p:nvCxnSpPr>
          <p:spPr>
            <a:xfrm rot="13500000">
              <a:off x="1389994" y="3218000"/>
              <a:ext cx="7162800" cy="1588"/>
            </a:xfrm>
            <a:prstGeom prst="line">
              <a:avLst/>
            </a:prstGeom>
            <a:ln w="25400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 rot="18900000">
              <a:off x="1313794" y="3294200"/>
              <a:ext cx="7162800" cy="1588"/>
            </a:xfrm>
            <a:prstGeom prst="line">
              <a:avLst/>
            </a:prstGeom>
            <a:ln w="25400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7467600" y="4114800"/>
            <a:ext cx="116435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rgbClr val="000000"/>
                </a:solidFill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</a:rPr>
              <a:t>KRW 120,000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pic>
        <p:nvPicPr>
          <p:cNvPr id="11" name="Picture 10" descr="스크린샷 2011-10-26 오후 9.08.33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5400" y="816694"/>
            <a:ext cx="3200400" cy="319351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 descr="스크린샷 2011-10-26 오후 9.12.23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5100" y="2667000"/>
            <a:ext cx="3390900" cy="37569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TextBox 9"/>
          <p:cNvSpPr txBox="1"/>
          <p:nvPr/>
        </p:nvSpPr>
        <p:spPr>
          <a:xfrm>
            <a:off x="3848100" y="6324600"/>
            <a:ext cx="1314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rgbClr val="000000"/>
                </a:solidFill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</a:rPr>
              <a:t>KRW 1,995,000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pic>
        <p:nvPicPr>
          <p:cNvPr id="13" name="Picture 12" descr="스크린샷 2011-10-26 오후 9.25.2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152400"/>
            <a:ext cx="2413000" cy="2616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TextBox 13"/>
          <p:cNvSpPr txBox="1"/>
          <p:nvPr/>
        </p:nvSpPr>
        <p:spPr>
          <a:xfrm>
            <a:off x="1168943" y="2832556"/>
            <a:ext cx="96465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rgbClr val="000000"/>
                </a:solidFill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</a:rPr>
              <a:t>KRW 3,500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스크린샷 2011-10-26 오후 6.37.08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3400" y="228600"/>
            <a:ext cx="5342934" cy="147848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019800" y="1066800"/>
            <a:ext cx="8282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ko-KR" altLang="en-US" sz="1400" dirty="0" smtClean="0">
                <a:solidFill>
                  <a:srgbClr val="000000"/>
                </a:solidFill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</a:rPr>
              <a:t>USD 4.95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pic>
        <p:nvPicPr>
          <p:cNvPr id="11" name="Picture 10" descr="ubuntu-operating-syste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0"/>
            <a:ext cx="2095966" cy="1905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TextBox 11"/>
          <p:cNvSpPr txBox="1"/>
          <p:nvPr/>
        </p:nvSpPr>
        <p:spPr>
          <a:xfrm>
            <a:off x="685800" y="1524000"/>
            <a:ext cx="36915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</a:rPr>
              <a:t>Free</a:t>
            </a:r>
          </a:p>
        </p:txBody>
      </p:sp>
      <p:pic>
        <p:nvPicPr>
          <p:cNvPr id="15" name="Picture 14" descr="스크린샷 2011-10-26 오후 6.39.3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6036" y="2193727"/>
            <a:ext cx="5084564" cy="1540073"/>
          </a:xfrm>
          <a:prstGeom prst="rect">
            <a:avLst/>
          </a:prstGeom>
        </p:spPr>
      </p:pic>
      <p:pic>
        <p:nvPicPr>
          <p:cNvPr id="16" name="Picture 15" descr="redhat2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6236" y="2743200"/>
            <a:ext cx="1752600" cy="1927860"/>
          </a:xfrm>
          <a:prstGeom prst="rect">
            <a:avLst/>
          </a:prstGeom>
        </p:spPr>
      </p:pic>
      <p:pic>
        <p:nvPicPr>
          <p:cNvPr id="18" name="Picture 17" descr="스크린샷 2011-10-26 오후 6.41.15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26036" y="3733800"/>
            <a:ext cx="5060907" cy="2209800"/>
          </a:xfrm>
          <a:prstGeom prst="rect">
            <a:avLst/>
          </a:prstGeom>
        </p:spPr>
      </p:pic>
      <p:sp>
        <p:nvSpPr>
          <p:cNvPr id="19" name="TextBox 18"/>
          <p:cNvSpPr txBox="1">
            <a:spLocks noChangeArrowheads="1"/>
          </p:cNvSpPr>
          <p:nvPr/>
        </p:nvSpPr>
        <p:spPr bwMode="auto">
          <a:xfrm>
            <a:off x="457200" y="6166247"/>
            <a:ext cx="8991600" cy="492443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 What makes this difference?</a:t>
            </a:r>
            <a:endParaRPr lang="en-US" altLang="ko-KR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스크린샷 2011-10-27 오후 11.25.30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228600"/>
            <a:ext cx="3981450" cy="3009022"/>
          </a:xfrm>
          <a:prstGeom prst="rect">
            <a:avLst/>
          </a:prstGeom>
        </p:spPr>
      </p:pic>
      <p:pic>
        <p:nvPicPr>
          <p:cNvPr id="15" name="Picture 14" descr="300687_266009323441909_200739259968916_752310_1337968822_n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2247" y="3576917"/>
            <a:ext cx="4749800" cy="31690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Picture 15" descr="320690_265626176813557_200739259968916_751156_411596724_n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1800" y="2268071"/>
            <a:ext cx="2819400" cy="4503533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76200" y="3429000"/>
            <a:ext cx="5562600" cy="15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rot="5400000" flipH="1" flipV="1">
            <a:off x="4114800" y="1905000"/>
            <a:ext cx="3048000" cy="15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8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38200"/>
            <a:ext cx="2895600" cy="16070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" name="Striped Right Arrow 28"/>
          <p:cNvSpPr/>
          <p:nvPr/>
        </p:nvSpPr>
        <p:spPr>
          <a:xfrm rot="2700000">
            <a:off x="5854093" y="1422213"/>
            <a:ext cx="1042239" cy="609600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5181600" y="228600"/>
            <a:ext cx="39624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32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Give away </a:t>
            </a:r>
            <a:r>
              <a:rPr lang="en-US" sz="32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Music!</a:t>
            </a:r>
            <a:endParaRPr lang="en-US" sz="3200" b="1" i="1" dirty="0" smtClean="0">
              <a:solidFill>
                <a:srgbClr val="FF6600"/>
              </a:solidFill>
              <a:effectLst>
                <a:glow rad="101600">
                  <a:schemeClr val="accent3">
                    <a:lumMod val="40000"/>
                    <a:lumOff val="60000"/>
                    <a:alpha val="75000"/>
                  </a:schemeClr>
                </a:glow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724400" y="4419600"/>
            <a:ext cx="3962400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32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Earn money from </a:t>
            </a:r>
            <a:br>
              <a:rPr lang="en-US" sz="32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</a:br>
            <a:r>
              <a:rPr lang="en-US" sz="32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concerts &amp; </a:t>
            </a:r>
            <a:r>
              <a:rPr lang="en-US" sz="32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goods!!</a:t>
            </a:r>
            <a:endParaRPr lang="en-US" sz="3200" b="1" i="1" dirty="0" smtClean="0">
              <a:solidFill>
                <a:srgbClr val="FF6600"/>
              </a:solidFill>
              <a:effectLst>
                <a:glow rad="101600">
                  <a:schemeClr val="accent3">
                    <a:lumMod val="40000"/>
                    <a:lumOff val="60000"/>
                    <a:alpha val="75000"/>
                  </a:schemeClr>
                </a:glow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mages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400" y="228600"/>
            <a:ext cx="1236913" cy="1276091"/>
          </a:xfrm>
          <a:prstGeom prst="rect">
            <a:avLst/>
          </a:prstGeom>
        </p:spPr>
      </p:pic>
      <p:pic>
        <p:nvPicPr>
          <p:cNvPr id="13" name="Picture 12" descr="images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6400" y="1905000"/>
            <a:ext cx="1257300" cy="1257300"/>
          </a:xfrm>
          <a:prstGeom prst="rect">
            <a:avLst/>
          </a:prstGeom>
        </p:spPr>
      </p:pic>
      <p:pic>
        <p:nvPicPr>
          <p:cNvPr id="17" name="Picture 16" descr="redhat2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600" y="3657600"/>
            <a:ext cx="1143271" cy="1257599"/>
          </a:xfrm>
          <a:prstGeom prst="rect">
            <a:avLst/>
          </a:prstGeom>
        </p:spPr>
      </p:pic>
      <p:sp>
        <p:nvSpPr>
          <p:cNvPr id="20" name="Chevron 19"/>
          <p:cNvSpPr/>
          <p:nvPr/>
        </p:nvSpPr>
        <p:spPr>
          <a:xfrm>
            <a:off x="4267200" y="382002"/>
            <a:ext cx="608768" cy="989598"/>
          </a:xfrm>
          <a:prstGeom prst="chevron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638800" y="458202"/>
            <a:ext cx="223235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000000"/>
                </a:solidFill>
              </a:rPr>
              <a:t>Culture</a:t>
            </a:r>
          </a:p>
        </p:txBody>
      </p:sp>
      <p:sp>
        <p:nvSpPr>
          <p:cNvPr id="22" name="Chevron 21"/>
          <p:cNvSpPr/>
          <p:nvPr/>
        </p:nvSpPr>
        <p:spPr>
          <a:xfrm>
            <a:off x="4284913" y="2058402"/>
            <a:ext cx="608768" cy="989598"/>
          </a:xfrm>
          <a:prstGeom prst="chevron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56513" y="2134602"/>
            <a:ext cx="184789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000000"/>
                </a:solidFill>
              </a:rPr>
              <a:t>Brand </a:t>
            </a:r>
          </a:p>
        </p:txBody>
      </p:sp>
      <p:sp>
        <p:nvSpPr>
          <p:cNvPr id="24" name="Chevron 23"/>
          <p:cNvSpPr/>
          <p:nvPr/>
        </p:nvSpPr>
        <p:spPr>
          <a:xfrm>
            <a:off x="4284913" y="3810000"/>
            <a:ext cx="608768" cy="989598"/>
          </a:xfrm>
          <a:prstGeom prst="chevron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656513" y="3886200"/>
            <a:ext cx="296340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000000"/>
                </a:solidFill>
              </a:rPr>
              <a:t>Reliability</a:t>
            </a:r>
          </a:p>
        </p:txBody>
      </p:sp>
      <p:pic>
        <p:nvPicPr>
          <p:cNvPr id="12" name="Picture 11" descr="images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0200" y="5181600"/>
            <a:ext cx="1524000" cy="1524000"/>
          </a:xfrm>
          <a:prstGeom prst="rect">
            <a:avLst/>
          </a:prstGeom>
        </p:spPr>
      </p:pic>
      <p:sp>
        <p:nvSpPr>
          <p:cNvPr id="14" name="Chevron 13"/>
          <p:cNvSpPr/>
          <p:nvPr/>
        </p:nvSpPr>
        <p:spPr>
          <a:xfrm>
            <a:off x="4267200" y="5562600"/>
            <a:ext cx="608768" cy="989598"/>
          </a:xfrm>
          <a:prstGeom prst="chevron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38800" y="5638800"/>
            <a:ext cx="346451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dirty="0" smtClean="0">
                <a:solidFill>
                  <a:srgbClr val="000000"/>
                </a:solidFill>
              </a:rPr>
              <a:t>Experie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381000" y="1288328"/>
            <a:ext cx="9144000" cy="419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4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Scarcity want to be Expensive!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endParaRPr lang="en-US" sz="4400" b="1" i="1" dirty="0" smtClean="0">
              <a:solidFill>
                <a:srgbClr val="FF6600"/>
              </a:solidFill>
              <a:effectLst>
                <a:glow rad="101600">
                  <a:schemeClr val="accent3">
                    <a:lumMod val="40000"/>
                    <a:lumOff val="60000"/>
                    <a:alpha val="75000"/>
                  </a:schemeClr>
                </a:glow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4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In abundance,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4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People want something special!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4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스크린샷 2011-10-26 오후 4.47.20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50" y="1123950"/>
            <a:ext cx="9867900" cy="4610100"/>
          </a:xfrm>
          <a:prstGeom prst="rect">
            <a:avLst/>
          </a:prstGeom>
        </p:spPr>
      </p:pic>
      <p:sp>
        <p:nvSpPr>
          <p:cNvPr id="3" name="Plus 2"/>
          <p:cNvSpPr/>
          <p:nvPr/>
        </p:nvSpPr>
        <p:spPr>
          <a:xfrm>
            <a:off x="5715000" y="2514600"/>
            <a:ext cx="1600200" cy="1600200"/>
          </a:xfrm>
          <a:prstGeom prst="mathPlu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81000" y="1100685"/>
            <a:ext cx="9144000" cy="4690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Ok!!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48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Let’s make something special using open source S/W?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But,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54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How?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b0140458_4cfcbf142be48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3"/>
          <p:cNvSpPr txBox="1">
            <a:spLocks noChangeArrowheads="1"/>
          </p:cNvSpPr>
          <p:nvPr/>
        </p:nvSpPr>
        <p:spPr bwMode="auto">
          <a:xfrm>
            <a:off x="231588" y="457200"/>
            <a:ext cx="94488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457200" indent="-457200" algn="ctr">
              <a:defRPr/>
            </a:pPr>
            <a:r>
              <a:rPr lang="en-US" sz="2800" b="1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rPr>
              <a:t>Community Open Source Software 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rPr>
              <a:t>Developing </a:t>
            </a:r>
            <a:r>
              <a:rPr lang="en-US" sz="2800" b="1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rPr>
              <a:t>Model</a:t>
            </a: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>
            <a:off x="304800" y="5878513"/>
            <a:ext cx="9296400" cy="369887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Of the developers, by the developers, for the developers!!</a:t>
            </a:r>
            <a:endParaRPr lang="en-US" altLang="ko-KR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1066800" y="2057400"/>
            <a:ext cx="2590800" cy="17526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1" name="TextBox 30"/>
          <p:cNvSpPr txBox="1"/>
          <p:nvPr/>
        </p:nvSpPr>
        <p:spPr>
          <a:xfrm>
            <a:off x="1143000" y="2132013"/>
            <a:ext cx="21336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algn="ctr" defTabSz="939800" eaLnBrk="0" fontAlgn="b" hangingPunct="0">
              <a:spcBef>
                <a:spcPct val="30000"/>
              </a:spcBef>
              <a:defRPr/>
            </a:pPr>
            <a:r>
              <a:rPr lang="en-US" sz="1600" b="1" dirty="0">
                <a:solidFill>
                  <a:srgbClr val="000000"/>
                </a:solidFill>
                <a:latin typeface="+mn-lt"/>
              </a:rPr>
              <a:t>Core Developers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1447800" y="2590800"/>
            <a:ext cx="1828800" cy="83820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1400" b="1" dirty="0">
                <a:solidFill>
                  <a:srgbClr val="000000"/>
                </a:solidFill>
              </a:rPr>
              <a:t>Administrators</a:t>
            </a:r>
          </a:p>
          <a:p>
            <a:pPr algn="ctr">
              <a:defRPr/>
            </a:pPr>
            <a:endParaRPr lang="en-US" sz="1400" b="1" dirty="0"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en-US" sz="1400" dirty="0">
                <a:solidFill>
                  <a:srgbClr val="000000"/>
                </a:solidFill>
              </a:rPr>
              <a:t>Engineers</a:t>
            </a:r>
          </a:p>
        </p:txBody>
      </p:sp>
      <p:sp>
        <p:nvSpPr>
          <p:cNvPr id="33" name="Hexagon 32"/>
          <p:cNvSpPr/>
          <p:nvPr/>
        </p:nvSpPr>
        <p:spPr>
          <a:xfrm>
            <a:off x="6629400" y="2209800"/>
            <a:ext cx="1752600" cy="1524000"/>
          </a:xfrm>
          <a:prstGeom prst="hexagon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rgbClr val="000000"/>
                </a:solidFill>
              </a:rPr>
              <a:t>Community</a:t>
            </a:r>
          </a:p>
        </p:txBody>
      </p:sp>
      <p:sp>
        <p:nvSpPr>
          <p:cNvPr id="34" name="Right Arrow 33"/>
          <p:cNvSpPr/>
          <p:nvPr/>
        </p:nvSpPr>
        <p:spPr>
          <a:xfrm>
            <a:off x="4395788" y="2173288"/>
            <a:ext cx="2005012" cy="720725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/>
              <a:t>Contributions</a:t>
            </a:r>
          </a:p>
        </p:txBody>
      </p:sp>
      <p:sp>
        <p:nvSpPr>
          <p:cNvPr id="35" name="Left Arrow 34"/>
          <p:cNvSpPr/>
          <p:nvPr/>
        </p:nvSpPr>
        <p:spPr>
          <a:xfrm>
            <a:off x="3938588" y="2935288"/>
            <a:ext cx="2386012" cy="720725"/>
          </a:xfrm>
          <a:prstGeom prst="lef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/>
              <a:t>Contribution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471988" y="3544888"/>
            <a:ext cx="1600200" cy="186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Peer Review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Use Cases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Testing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Documentation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Translations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Features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Forum Help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Bug Fixe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471988" y="1371600"/>
            <a:ext cx="1600200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Roadmap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Design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Software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‘The Project’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0" y="6672263"/>
            <a:ext cx="27432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* Source : James Dixon, The Beekeep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11"/>
          <p:cNvGraphicFramePr/>
          <p:nvPr/>
        </p:nvGraphicFramePr>
        <p:xfrm>
          <a:off x="914400" y="1219200"/>
          <a:ext cx="8229600" cy="450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1447800" y="6172200"/>
            <a:ext cx="7239000" cy="369888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 Price &amp; opened source code are key factors!</a:t>
            </a:r>
          </a:p>
        </p:txBody>
      </p:sp>
      <p:sp>
        <p:nvSpPr>
          <p:cNvPr id="15" name="TextBox 3"/>
          <p:cNvSpPr txBox="1">
            <a:spLocks noChangeArrowheads="1"/>
          </p:cNvSpPr>
          <p:nvPr/>
        </p:nvSpPr>
        <p:spPr bwMode="auto">
          <a:xfrm>
            <a:off x="231588" y="457200"/>
            <a:ext cx="94488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457200" indent="-457200" algn="ctr">
              <a:defRPr/>
            </a:pPr>
            <a:r>
              <a:rPr lang="en-US" sz="2800" b="1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rPr>
              <a:t>Open Source Software Advantages over Proprietar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629400" y="914400"/>
            <a:ext cx="3276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* Source : Barracuda Network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스크린샷 2011-10-26 오후 4.47.20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50" y="1123950"/>
            <a:ext cx="9867900" cy="46101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3"/>
          <p:cNvSpPr txBox="1">
            <a:spLocks noChangeArrowheads="1"/>
          </p:cNvSpPr>
          <p:nvPr/>
        </p:nvSpPr>
        <p:spPr bwMode="auto">
          <a:xfrm>
            <a:off x="231588" y="457200"/>
            <a:ext cx="94488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457200" indent="-457200" algn="ctr">
              <a:defRPr/>
            </a:pPr>
            <a:r>
              <a:rPr lang="en-US" sz="2800" b="1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rPr>
              <a:t>Proprietary Software Advantages over Open Sourc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629400" y="914400"/>
            <a:ext cx="3276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100" dirty="0">
                <a:solidFill>
                  <a:srgbClr val="000000"/>
                </a:solidFill>
                <a:latin typeface="+mn-lt"/>
              </a:rPr>
              <a:t>* Source : Barracuda Networks</a:t>
            </a:r>
          </a:p>
        </p:txBody>
      </p:sp>
      <p:graphicFrame>
        <p:nvGraphicFramePr>
          <p:cNvPr id="6" name="Chart 5"/>
          <p:cNvGraphicFramePr/>
          <p:nvPr/>
        </p:nvGraphicFramePr>
        <p:xfrm>
          <a:off x="1143000" y="1295400"/>
          <a:ext cx="7848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143000" y="6172200"/>
            <a:ext cx="8229600" cy="369888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Professional services &amp; convenience are key factors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타원 50"/>
          <p:cNvSpPr>
            <a:spLocks noChangeArrowheads="1"/>
          </p:cNvSpPr>
          <p:nvPr/>
        </p:nvSpPr>
        <p:spPr bwMode="auto">
          <a:xfrm>
            <a:off x="3708400" y="882650"/>
            <a:ext cx="2232025" cy="431800"/>
          </a:xfrm>
          <a:prstGeom prst="ellipse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altLang="ko-K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맑은 고딕" pitchFamily="50" charset="-128"/>
                <a:ea typeface="맑은 고딕" pitchFamily="50" charset="-128"/>
                <a:cs typeface="맑은 고딕" pitchFamily="50" charset="-128"/>
              </a:rPr>
              <a:t>6 Barriers</a:t>
            </a:r>
            <a:endParaRPr lang="ko-KR" altLang="en-US" sz="14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맑은 고딕" pitchFamily="50" charset="-128"/>
              <a:ea typeface="맑은 고딕" pitchFamily="50" charset="-128"/>
              <a:cs typeface="맑은 고딕" pitchFamily="50" charset="-128"/>
            </a:endParaRPr>
          </a:p>
        </p:txBody>
      </p:sp>
      <p:sp>
        <p:nvSpPr>
          <p:cNvPr id="4" name="타원 51"/>
          <p:cNvSpPr>
            <a:spLocks noChangeArrowheads="1"/>
          </p:cNvSpPr>
          <p:nvPr/>
        </p:nvSpPr>
        <p:spPr bwMode="auto">
          <a:xfrm>
            <a:off x="381000" y="1179513"/>
            <a:ext cx="2362200" cy="431800"/>
          </a:xfrm>
          <a:prstGeom prst="ellipse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altLang="ko-K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맑은 고딕" pitchFamily="50" charset="-128"/>
                <a:ea typeface="맑은 고딕" pitchFamily="50" charset="-128"/>
                <a:cs typeface="맑은 고딕" pitchFamily="50" charset="-128"/>
              </a:rPr>
              <a:t>Open Source SW</a:t>
            </a:r>
            <a:endParaRPr lang="ko-KR" altLang="en-US" sz="14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맑은 고딕" pitchFamily="50" charset="-128"/>
              <a:ea typeface="맑은 고딕" pitchFamily="50" charset="-128"/>
              <a:cs typeface="맑은 고딕" pitchFamily="50" charset="-128"/>
            </a:endParaRPr>
          </a:p>
        </p:txBody>
      </p:sp>
      <p:sp>
        <p:nvSpPr>
          <p:cNvPr id="5" name="타원 52"/>
          <p:cNvSpPr>
            <a:spLocks noChangeArrowheads="1"/>
          </p:cNvSpPr>
          <p:nvPr/>
        </p:nvSpPr>
        <p:spPr bwMode="auto">
          <a:xfrm>
            <a:off x="6884988" y="1160463"/>
            <a:ext cx="2089150" cy="431800"/>
          </a:xfrm>
          <a:prstGeom prst="ellipse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altLang="ko-K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맑은 고딕" pitchFamily="50" charset="-128"/>
                <a:ea typeface="맑은 고딕" pitchFamily="50" charset="-128"/>
                <a:cs typeface="맑은 고딕" pitchFamily="50" charset="-128"/>
              </a:rPr>
              <a:t>Success Story</a:t>
            </a:r>
            <a:endParaRPr lang="ko-KR" altLang="en-US" sz="14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맑은 고딕" pitchFamily="50" charset="-128"/>
              <a:ea typeface="맑은 고딕" pitchFamily="50" charset="-128"/>
              <a:cs typeface="맑은 고딕" pitchFamily="50" charset="-128"/>
            </a:endParaRPr>
          </a:p>
        </p:txBody>
      </p:sp>
      <p:sp>
        <p:nvSpPr>
          <p:cNvPr id="6" name="아래쪽 화살표 53"/>
          <p:cNvSpPr/>
          <p:nvPr/>
        </p:nvSpPr>
        <p:spPr>
          <a:xfrm rot="16200000">
            <a:off x="2205832" y="3413918"/>
            <a:ext cx="2146300" cy="360363"/>
          </a:xfrm>
          <a:prstGeom prst="downArrow">
            <a:avLst>
              <a:gd name="adj1" fmla="val 58896"/>
              <a:gd name="adj2" fmla="val 50000"/>
            </a:avLst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ko-KR" altLang="en-US">
              <a:solidFill>
                <a:srgbClr val="000000"/>
              </a:solidFill>
              <a:cs typeface="맑은 고딕" pitchFamily="50" charset="-128"/>
            </a:endParaRPr>
          </a:p>
        </p:txBody>
      </p:sp>
      <p:sp>
        <p:nvSpPr>
          <p:cNvPr id="7" name="Rectangle 1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08400" y="1466850"/>
            <a:ext cx="2249488" cy="666750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anchor="ctr">
            <a:prstTxWarp prst="textNoShape">
              <a:avLst/>
            </a:prstTxWarp>
          </a:bodyPr>
          <a:lstStyle/>
          <a:p>
            <a:pPr marL="184150" indent="-184150">
              <a:defRPr/>
            </a:pPr>
            <a:r>
              <a:rPr lang="en-US" altLang="ko-KR" sz="1400" dirty="0">
                <a:solidFill>
                  <a:srgbClr val="0D0D0D"/>
                </a:solidFill>
                <a:cs typeface="맑은 고딕" pitchFamily="50" charset="-128"/>
              </a:rPr>
              <a:t>1. Lack of formal support and services</a:t>
            </a:r>
          </a:p>
        </p:txBody>
      </p:sp>
      <p:sp>
        <p:nvSpPr>
          <p:cNvPr id="8" name="아래쪽 화살표 60"/>
          <p:cNvSpPr/>
          <p:nvPr/>
        </p:nvSpPr>
        <p:spPr>
          <a:xfrm rot="16200000">
            <a:off x="5351463" y="3338512"/>
            <a:ext cx="2146300" cy="358775"/>
          </a:xfrm>
          <a:prstGeom prst="downArrow">
            <a:avLst>
              <a:gd name="adj1" fmla="val 58896"/>
              <a:gd name="adj2" fmla="val 50000"/>
            </a:avLst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ko-KR" altLang="en-US">
              <a:solidFill>
                <a:srgbClr val="000000"/>
              </a:solidFill>
              <a:cs typeface="맑은 고딕" pitchFamily="50" charset="-128"/>
            </a:endParaRPr>
          </a:p>
        </p:txBody>
      </p:sp>
      <p:sp>
        <p:nvSpPr>
          <p:cNvPr id="9" name="Rectangle 1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08400" y="2228850"/>
            <a:ext cx="2249488" cy="666750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anchor="ctr">
            <a:prstTxWarp prst="textNoShape">
              <a:avLst/>
            </a:prstTxWarp>
          </a:bodyPr>
          <a:lstStyle/>
          <a:p>
            <a:pPr marL="184150" indent="-184150">
              <a:defRPr/>
            </a:pPr>
            <a:r>
              <a:rPr lang="en-US" altLang="ko-KR" sz="1400" dirty="0">
                <a:solidFill>
                  <a:srgbClr val="0D0D0D"/>
                </a:solidFill>
                <a:cs typeface="맑은 고딕" pitchFamily="50" charset="-128"/>
              </a:rPr>
              <a:t>2. Velocity of change</a:t>
            </a:r>
          </a:p>
        </p:txBody>
      </p:sp>
      <p:sp>
        <p:nvSpPr>
          <p:cNvPr id="10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08400" y="2990850"/>
            <a:ext cx="2249488" cy="666750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anchor="ctr">
            <a:prstTxWarp prst="textNoShape">
              <a:avLst/>
            </a:prstTxWarp>
          </a:bodyPr>
          <a:lstStyle/>
          <a:p>
            <a:pPr marL="184150" indent="-184150">
              <a:defRPr/>
            </a:pPr>
            <a:r>
              <a:rPr lang="en-US" altLang="ko-KR" sz="1400" dirty="0">
                <a:solidFill>
                  <a:srgbClr val="0D0D0D"/>
                </a:solidFill>
                <a:cs typeface="맑은 고딕" pitchFamily="50" charset="-128"/>
              </a:rPr>
              <a:t>3. Lack of roadmap</a:t>
            </a:r>
          </a:p>
        </p:txBody>
      </p:sp>
      <p:sp>
        <p:nvSpPr>
          <p:cNvPr id="11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08400" y="3771900"/>
            <a:ext cx="2249488" cy="666750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anchor="ctr">
            <a:prstTxWarp prst="textNoShape">
              <a:avLst/>
            </a:prstTxWarp>
          </a:bodyPr>
          <a:lstStyle/>
          <a:p>
            <a:pPr marL="184150" indent="-184150">
              <a:defRPr/>
            </a:pPr>
            <a:r>
              <a:rPr lang="en-US" altLang="ko-KR" sz="1400" dirty="0">
                <a:solidFill>
                  <a:srgbClr val="0D0D0D"/>
                </a:solidFill>
                <a:cs typeface="맑은 고딕" pitchFamily="50" charset="-128"/>
              </a:rPr>
              <a:t>4. Functional Gaps</a:t>
            </a:r>
          </a:p>
        </p:txBody>
      </p:sp>
      <p:sp>
        <p:nvSpPr>
          <p:cNvPr id="12" name="Rectangle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08400" y="4514850"/>
            <a:ext cx="2249488" cy="666750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anchor="ctr">
            <a:prstTxWarp prst="textNoShape">
              <a:avLst/>
            </a:prstTxWarp>
          </a:bodyPr>
          <a:lstStyle/>
          <a:p>
            <a:pPr marL="184150" indent="-184150">
              <a:defRPr/>
            </a:pPr>
            <a:r>
              <a:rPr lang="en-US" altLang="ko-KR" sz="1400" dirty="0">
                <a:solidFill>
                  <a:srgbClr val="0D0D0D"/>
                </a:solidFill>
                <a:cs typeface="맑은 고딕" pitchFamily="50" charset="-128"/>
              </a:rPr>
              <a:t>5. License Types</a:t>
            </a:r>
          </a:p>
        </p:txBody>
      </p:sp>
      <p:sp>
        <p:nvSpPr>
          <p:cNvPr id="13" name="Rectangle 1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708400" y="5276850"/>
            <a:ext cx="2249488" cy="666750"/>
          </a:xfrm>
          <a:prstGeom prst="rect">
            <a:avLst/>
          </a:prstGeom>
          <a:ln w="12700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anchor="ctr">
            <a:prstTxWarp prst="textNoShape">
              <a:avLst/>
            </a:prstTxWarp>
          </a:bodyPr>
          <a:lstStyle/>
          <a:p>
            <a:pPr marL="184150" indent="-184150">
              <a:defRPr/>
            </a:pPr>
            <a:r>
              <a:rPr lang="en-US" altLang="ko-KR" sz="1400" dirty="0">
                <a:solidFill>
                  <a:srgbClr val="0D0D0D"/>
                </a:solidFill>
                <a:cs typeface="맑은 고딕" pitchFamily="50" charset="-128"/>
              </a:rPr>
              <a:t>6. Lack of endorsements by independent ISVs</a:t>
            </a:r>
          </a:p>
        </p:txBody>
      </p:sp>
      <p:pic>
        <p:nvPicPr>
          <p:cNvPr id="15" name="Picture 61" descr="1060381030.jp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32800" y="1644650"/>
            <a:ext cx="1216025" cy="88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62" descr="alfresco1.jp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213600" y="3016250"/>
            <a:ext cx="2362200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63" descr="digiumTheAsteriskCoRGB400x257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061200" y="1949450"/>
            <a:ext cx="1244600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64" descr="jboss_inc_logo.jpg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051800" y="3854450"/>
            <a:ext cx="1619250" cy="100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65" descr="red-hat.jpe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985000" y="4006850"/>
            <a:ext cx="83185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6" descr="Zimbra_Logo.JP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975600" y="4845050"/>
            <a:ext cx="1778000" cy="849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67" descr="open-source-logos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2400" y="1862138"/>
            <a:ext cx="2743200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 descr="Open_source_collage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304800" y="4300538"/>
            <a:ext cx="2357438" cy="153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Box 22"/>
          <p:cNvSpPr txBox="1"/>
          <p:nvPr/>
        </p:nvSpPr>
        <p:spPr>
          <a:xfrm>
            <a:off x="76200" y="6553200"/>
            <a:ext cx="39624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* Source : Ray Lane, 6 barriers to open source adop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타원 2"/>
          <p:cNvSpPr/>
          <p:nvPr/>
        </p:nvSpPr>
        <p:spPr>
          <a:xfrm>
            <a:off x="1752600" y="690563"/>
            <a:ext cx="6172200" cy="4567237"/>
          </a:xfrm>
          <a:prstGeom prst="ellipse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US">
              <a:solidFill>
                <a:srgbClr val="000000"/>
              </a:solidFill>
              <a:ea typeface="굴림" pitchFamily="50" charset="-128"/>
              <a:cs typeface="굴림" pitchFamily="50" charset="-128"/>
            </a:endParaRPr>
          </a:p>
        </p:txBody>
      </p:sp>
      <p:sp>
        <p:nvSpPr>
          <p:cNvPr id="9" name="타원 23"/>
          <p:cNvSpPr/>
          <p:nvPr/>
        </p:nvSpPr>
        <p:spPr>
          <a:xfrm>
            <a:off x="2049464" y="1143000"/>
            <a:ext cx="3048000" cy="3048000"/>
          </a:xfrm>
          <a:prstGeom prst="ellipse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ea typeface="굴림" pitchFamily="50" charset="-128"/>
                <a:cs typeface="굴림" pitchFamily="50" charset="-128"/>
              </a:rPr>
              <a:t>Advantages </a:t>
            </a:r>
          </a:p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ea typeface="굴림" pitchFamily="50" charset="-128"/>
                <a:cs typeface="굴림" pitchFamily="50" charset="-128"/>
              </a:rPr>
              <a:t>of </a:t>
            </a:r>
          </a:p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ea typeface="굴림" pitchFamily="50" charset="-128"/>
                <a:cs typeface="굴림" pitchFamily="50" charset="-128"/>
              </a:rPr>
              <a:t>Proprietary </a:t>
            </a:r>
          </a:p>
          <a:p>
            <a:pPr algn="ctr">
              <a:defRPr/>
            </a:pPr>
            <a:endParaRPr lang="en-US" sz="1200" dirty="0">
              <a:solidFill>
                <a:srgbClr val="000000"/>
              </a:solidFill>
              <a:ea typeface="굴림" pitchFamily="50" charset="-128"/>
              <a:cs typeface="굴림" pitchFamily="50" charset="-128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ko-KR" sz="1400" dirty="0">
                <a:solidFill>
                  <a:srgbClr val="000000"/>
                </a:solidFill>
                <a:cs typeface="맑은 고딕" pitchFamily="50" charset="-128"/>
              </a:rPr>
              <a:t>Professional service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sz="1400" dirty="0">
                <a:solidFill>
                  <a:srgbClr val="000000"/>
                </a:solidFill>
                <a:ea typeface="굴림" pitchFamily="50" charset="-128"/>
                <a:cs typeface="맑은 고딕" pitchFamily="50" charset="-128"/>
              </a:rPr>
              <a:t>Continuous support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sz="1400" dirty="0">
                <a:solidFill>
                  <a:srgbClr val="000000"/>
                </a:solidFill>
                <a:ea typeface="굴림" pitchFamily="50" charset="-128"/>
                <a:cs typeface="맑은 고딕" pitchFamily="50" charset="-128"/>
              </a:rPr>
              <a:t>Easy to use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sz="1400" dirty="0">
                <a:solidFill>
                  <a:srgbClr val="000000"/>
                </a:solidFill>
                <a:ea typeface="굴림" pitchFamily="50" charset="-128"/>
                <a:cs typeface="맑은 고딕" pitchFamily="50" charset="-128"/>
              </a:rPr>
              <a:t>Reliability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sz="1400" dirty="0">
                <a:solidFill>
                  <a:srgbClr val="000000"/>
                </a:solidFill>
                <a:ea typeface="굴림" pitchFamily="50" charset="-128"/>
                <a:cs typeface="맑은 고딕" pitchFamily="50" charset="-128"/>
              </a:rPr>
              <a:t>Functionalities  </a:t>
            </a:r>
            <a:endParaRPr lang="en-US" sz="2000" dirty="0">
              <a:solidFill>
                <a:srgbClr val="000000"/>
              </a:solidFill>
              <a:ea typeface="굴림" pitchFamily="50" charset="-128"/>
              <a:cs typeface="굴림" pitchFamily="50" charset="-128"/>
            </a:endParaRPr>
          </a:p>
        </p:txBody>
      </p:sp>
      <p:sp>
        <p:nvSpPr>
          <p:cNvPr id="10" name="타원 26"/>
          <p:cNvSpPr/>
          <p:nvPr/>
        </p:nvSpPr>
        <p:spPr>
          <a:xfrm>
            <a:off x="4605338" y="1143000"/>
            <a:ext cx="3049680" cy="3048000"/>
          </a:xfrm>
          <a:prstGeom prst="ellipse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ea typeface="굴림" pitchFamily="50" charset="-128"/>
                <a:cs typeface="굴림" pitchFamily="50" charset="-128"/>
              </a:rPr>
              <a:t>Advantages</a:t>
            </a:r>
          </a:p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ea typeface="굴림" pitchFamily="50" charset="-128"/>
                <a:cs typeface="굴림" pitchFamily="50" charset="-128"/>
              </a:rPr>
              <a:t>of</a:t>
            </a:r>
          </a:p>
          <a:p>
            <a:pPr algn="ctr">
              <a:defRPr/>
            </a:pPr>
            <a:r>
              <a:rPr lang="en-US" dirty="0">
                <a:solidFill>
                  <a:srgbClr val="000000"/>
                </a:solidFill>
                <a:ea typeface="굴림" pitchFamily="50" charset="-128"/>
                <a:cs typeface="굴림" pitchFamily="50" charset="-128"/>
              </a:rPr>
              <a:t>Open Source</a:t>
            </a:r>
          </a:p>
          <a:p>
            <a:pPr algn="ctr">
              <a:defRPr/>
            </a:pPr>
            <a:endParaRPr lang="en-US" sz="1200" dirty="0">
              <a:solidFill>
                <a:srgbClr val="000000"/>
              </a:solidFill>
              <a:ea typeface="굴림" pitchFamily="50" charset="-128"/>
              <a:cs typeface="굴림" pitchFamily="50" charset="-128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sz="1400" dirty="0">
                <a:solidFill>
                  <a:srgbClr val="000000"/>
                </a:solidFill>
                <a:ea typeface="굴림" pitchFamily="50" charset="-128"/>
                <a:cs typeface="굴림" pitchFamily="50" charset="-128"/>
              </a:rPr>
              <a:t>Cheaper price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ko-KR" sz="1400" dirty="0">
                <a:solidFill>
                  <a:srgbClr val="000000"/>
                </a:solidFill>
                <a:cs typeface="맑은 고딕" pitchFamily="50" charset="-128"/>
              </a:rPr>
              <a:t>Source code access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ko-KR" sz="1400" dirty="0">
                <a:solidFill>
                  <a:srgbClr val="000000"/>
                </a:solidFill>
                <a:cs typeface="맑은 고딕" pitchFamily="50" charset="-128"/>
              </a:rPr>
              <a:t>Community review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ko-KR" sz="1400" dirty="0">
                <a:solidFill>
                  <a:srgbClr val="000000"/>
                </a:solidFill>
                <a:cs typeface="맑은 고딕" pitchFamily="50" charset="-128"/>
              </a:rPr>
              <a:t>Quicker bug fix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ko-KR" sz="1400" dirty="0">
                <a:solidFill>
                  <a:srgbClr val="000000"/>
                </a:solidFill>
                <a:cs typeface="맑은 고딕" pitchFamily="50" charset="-128"/>
              </a:rPr>
              <a:t>More standard base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67000" y="609600"/>
            <a:ext cx="4386262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50800" algn="ctr" defTabSz="939800" eaLnBrk="0" fontAlgn="b" hangingPunct="0">
              <a:spcBef>
                <a:spcPct val="30000"/>
              </a:spcBef>
              <a:defRPr/>
            </a:pPr>
            <a:r>
              <a:rPr lang="en-US" sz="2000" b="1" dirty="0">
                <a:solidFill>
                  <a:srgbClr val="000000"/>
                </a:solidFill>
                <a:latin typeface="+mn-lt"/>
                <a:ea typeface="굴림" pitchFamily="50" charset="-127"/>
                <a:cs typeface="+mn-cs"/>
              </a:rPr>
              <a:t>Commercial Open Source Softwar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895600" y="4495800"/>
            <a:ext cx="3962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50800" algn="ctr" defTabSz="939800" eaLnBrk="0" fontAlgn="b" hangingPunct="0">
              <a:spcBef>
                <a:spcPct val="30000"/>
              </a:spcBef>
              <a:defRPr/>
            </a:pPr>
            <a:r>
              <a:rPr lang="en-US" b="1" dirty="0">
                <a:solidFill>
                  <a:srgbClr val="000000"/>
                </a:solidFill>
                <a:latin typeface="+mn-lt"/>
                <a:ea typeface="굴림" pitchFamily="50" charset="-127"/>
                <a:cs typeface="+mn-cs"/>
              </a:rPr>
              <a:t>‘Whole Product’</a:t>
            </a:r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457200" y="5616575"/>
            <a:ext cx="9067800" cy="830263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Commercial open source company can exist to create ‘Whole Product’ around an open source project (software + community) and can deliver it to a mainstream market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/>
        </p:nvSpPr>
        <p:spPr>
          <a:xfrm>
            <a:off x="5181600" y="838200"/>
            <a:ext cx="3657600" cy="36576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4" name="Picture 32" descr="cd-rom-460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200" y="1549400"/>
            <a:ext cx="2921000" cy="20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1676400" y="2390775"/>
            <a:ext cx="1295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b="1" dirty="0">
                <a:solidFill>
                  <a:srgbClr val="000000"/>
                </a:solidFill>
                <a:latin typeface="+mn-lt"/>
              </a:rPr>
              <a:t>Software</a:t>
            </a:r>
          </a:p>
        </p:txBody>
      </p:sp>
      <p:cxnSp>
        <p:nvCxnSpPr>
          <p:cNvPr id="17" name="Straight Connector 16"/>
          <p:cNvCxnSpPr>
            <a:stCxn id="13" idx="0"/>
            <a:endCxn id="13" idx="4"/>
          </p:cNvCxnSpPr>
          <p:nvPr/>
        </p:nvCxnSpPr>
        <p:spPr>
          <a:xfrm rot="16200000" flipH="1">
            <a:off x="5181601" y="2667000"/>
            <a:ext cx="3657600" cy="31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13" idx="1"/>
            <a:endCxn id="13" idx="5"/>
          </p:cNvCxnSpPr>
          <p:nvPr/>
        </p:nvCxnSpPr>
        <p:spPr>
          <a:xfrm rot="16200000" flipH="1">
            <a:off x="5716588" y="1373188"/>
            <a:ext cx="2587625" cy="25876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3" idx="3"/>
            <a:endCxn id="13" idx="7"/>
          </p:cNvCxnSpPr>
          <p:nvPr/>
        </p:nvCxnSpPr>
        <p:spPr>
          <a:xfrm rot="5400000" flipH="1" flipV="1">
            <a:off x="5716588" y="1373188"/>
            <a:ext cx="2587625" cy="25876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3" idx="2"/>
            <a:endCxn id="13" idx="6"/>
          </p:cNvCxnSpPr>
          <p:nvPr/>
        </p:nvCxnSpPr>
        <p:spPr>
          <a:xfrm rot="10800000" flipH="1">
            <a:off x="5181600" y="2667000"/>
            <a:ext cx="36576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>
          <a:xfrm>
            <a:off x="5943600" y="1600200"/>
            <a:ext cx="2133600" cy="2133600"/>
          </a:xfrm>
          <a:prstGeom prst="ellipse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22" name="Picture 35" descr="cd-rom-460.jp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43550" y="1668463"/>
            <a:ext cx="2921000" cy="20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Box 22"/>
          <p:cNvSpPr txBox="1"/>
          <p:nvPr/>
        </p:nvSpPr>
        <p:spPr>
          <a:xfrm>
            <a:off x="7086600" y="1143000"/>
            <a:ext cx="9906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Integra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400800" y="2514600"/>
            <a:ext cx="1295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b="1" dirty="0">
                <a:solidFill>
                  <a:srgbClr val="000000"/>
                </a:solidFill>
                <a:latin typeface="+mn-lt"/>
              </a:rPr>
              <a:t>Software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01000" y="2057400"/>
            <a:ext cx="9906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Service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943600" y="1219200"/>
            <a:ext cx="9906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Installatio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096000" y="3975100"/>
            <a:ext cx="9906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Training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105400" y="3124200"/>
            <a:ext cx="9906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VAR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848600" y="2895600"/>
            <a:ext cx="9906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Other </a:t>
            </a:r>
          </a:p>
          <a:p>
            <a:pPr marL="165100" indent="-114300" algn="ctr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SW/HW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010400" y="3822700"/>
            <a:ext cx="1143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Certification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257800" y="2057400"/>
            <a:ext cx="9906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Support</a:t>
            </a: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5486400" y="4495800"/>
            <a:ext cx="3113088" cy="34290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 defTabSz="912813">
              <a:lnSpc>
                <a:spcPct val="120000"/>
              </a:lnSpc>
              <a:spcBef>
                <a:spcPct val="50000"/>
              </a:spcBef>
              <a:buFont typeface="Wingdings" charset="2"/>
              <a:buNone/>
              <a:defRPr/>
            </a:pPr>
            <a:r>
              <a:rPr lang="en-US" altLang="ko-KR" sz="1400" dirty="0">
                <a:solidFill>
                  <a:srgbClr val="000000"/>
                </a:solidFill>
                <a:latin typeface="+mn-lt"/>
                <a:cs typeface="Times New Roman"/>
              </a:rPr>
              <a:t>&lt;Whole Product&gt;</a:t>
            </a:r>
          </a:p>
        </p:txBody>
      </p:sp>
      <p:sp>
        <p:nvSpPr>
          <p:cNvPr id="33" name="이등변 삼각형 106"/>
          <p:cNvSpPr>
            <a:spLocks noChangeArrowheads="1"/>
          </p:cNvSpPr>
          <p:nvPr/>
        </p:nvSpPr>
        <p:spPr bwMode="auto">
          <a:xfrm rot="5400000">
            <a:off x="3545681" y="2372519"/>
            <a:ext cx="1493838" cy="406400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  <a:tileRect/>
          </a:gradFill>
          <a:ln w="9525">
            <a:noFill/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맑은 고딕" pitchFamily="50" charset="-128"/>
            </a:endParaRPr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685800" y="1295400"/>
            <a:ext cx="3113088" cy="34290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 defTabSz="912813">
              <a:lnSpc>
                <a:spcPct val="120000"/>
              </a:lnSpc>
              <a:spcBef>
                <a:spcPct val="50000"/>
              </a:spcBef>
              <a:buFont typeface="Wingdings" charset="2"/>
              <a:buNone/>
              <a:defRPr/>
            </a:pPr>
            <a:r>
              <a:rPr lang="en-US" altLang="ko-KR" sz="1400" dirty="0">
                <a:solidFill>
                  <a:srgbClr val="000000"/>
                </a:solidFill>
                <a:latin typeface="+mn-lt"/>
                <a:cs typeface="Times New Roman"/>
              </a:rPr>
              <a:t>&lt;Open Source SW&gt;</a:t>
            </a:r>
          </a:p>
        </p:txBody>
      </p:sp>
      <p:sp>
        <p:nvSpPr>
          <p:cNvPr id="36" name="TextBox 35"/>
          <p:cNvSpPr txBox="1">
            <a:spLocks noChangeArrowheads="1"/>
          </p:cNvSpPr>
          <p:nvPr/>
        </p:nvSpPr>
        <p:spPr bwMode="auto">
          <a:xfrm>
            <a:off x="990600" y="5357812"/>
            <a:ext cx="8001000" cy="738188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OSS model is great at producing SW, but it doesn’t produce ‘Whole Product’ for customers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val 34"/>
          <p:cNvSpPr/>
          <p:nvPr/>
        </p:nvSpPr>
        <p:spPr>
          <a:xfrm>
            <a:off x="4069977" y="2605741"/>
            <a:ext cx="1524000" cy="1524000"/>
          </a:xfrm>
          <a:prstGeom prst="ellips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/>
        </p:nvSpPr>
        <p:spPr>
          <a:xfrm>
            <a:off x="3505200" y="2057400"/>
            <a:ext cx="2667000" cy="2667000"/>
          </a:xfrm>
          <a:prstGeom prst="ellipse">
            <a:avLst/>
          </a:prstGeom>
          <a:noFill/>
          <a:ln w="254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/>
          <p:cNvSpPr/>
          <p:nvPr/>
        </p:nvSpPr>
        <p:spPr>
          <a:xfrm>
            <a:off x="3048000" y="1524000"/>
            <a:ext cx="3657600" cy="3657600"/>
          </a:xfrm>
          <a:prstGeom prst="ellipse">
            <a:avLst/>
          </a:prstGeom>
          <a:noFill/>
          <a:ln w="254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2514600" y="1066800"/>
            <a:ext cx="4648200" cy="4648200"/>
          </a:xfrm>
          <a:prstGeom prst="ellipse">
            <a:avLst/>
          </a:prstGeom>
          <a:noFill/>
          <a:ln w="254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Straight Arrow Connector 40"/>
          <p:cNvCxnSpPr>
            <a:endCxn id="35" idx="1"/>
          </p:cNvCxnSpPr>
          <p:nvPr/>
        </p:nvCxnSpPr>
        <p:spPr>
          <a:xfrm>
            <a:off x="2590800" y="1524000"/>
            <a:ext cx="1702362" cy="130492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685800" y="685800"/>
            <a:ext cx="2438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00000"/>
                </a:solidFill>
                <a:latin typeface="+mn-lt"/>
              </a:rPr>
              <a:t>Core Product</a:t>
            </a:r>
          </a:p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(Basic functions, symbols, </a:t>
            </a:r>
            <a:br>
              <a:rPr lang="en-US" sz="1600" dirty="0" smtClean="0">
                <a:solidFill>
                  <a:srgbClr val="000000"/>
                </a:solidFill>
                <a:latin typeface="+mn-lt"/>
              </a:rPr>
            </a:b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experiences)  </a:t>
            </a:r>
          </a:p>
        </p:txBody>
      </p:sp>
      <p:cxnSp>
        <p:nvCxnSpPr>
          <p:cNvPr id="44" name="Straight Arrow Connector 43"/>
          <p:cNvCxnSpPr>
            <a:endCxn id="37" idx="7"/>
          </p:cNvCxnSpPr>
          <p:nvPr/>
        </p:nvCxnSpPr>
        <p:spPr>
          <a:xfrm rot="10800000" flipV="1">
            <a:off x="5781628" y="1219199"/>
            <a:ext cx="1685973" cy="122877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6934200" y="228600"/>
            <a:ext cx="2438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00000"/>
                </a:solidFill>
                <a:latin typeface="+mn-lt"/>
              </a:rPr>
              <a:t>Actual Product</a:t>
            </a:r>
          </a:p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(Quality, design, brand,  </a:t>
            </a:r>
            <a:br>
              <a:rPr lang="en-US" sz="1600" dirty="0" smtClean="0">
                <a:solidFill>
                  <a:srgbClr val="000000"/>
                </a:solidFill>
                <a:latin typeface="+mn-lt"/>
              </a:rPr>
            </a:b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packages)  </a:t>
            </a:r>
          </a:p>
        </p:txBody>
      </p:sp>
      <p:cxnSp>
        <p:nvCxnSpPr>
          <p:cNvPr id="47" name="Straight Arrow Connector 46"/>
          <p:cNvCxnSpPr>
            <a:endCxn id="38" idx="3"/>
          </p:cNvCxnSpPr>
          <p:nvPr/>
        </p:nvCxnSpPr>
        <p:spPr>
          <a:xfrm flipV="1">
            <a:off x="2209800" y="4645957"/>
            <a:ext cx="1373843" cy="84044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609600" y="5562600"/>
            <a:ext cx="2438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00000"/>
                </a:solidFill>
                <a:latin typeface="+mn-lt"/>
              </a:rPr>
              <a:t>Whole Product</a:t>
            </a:r>
          </a:p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(Additional services)</a:t>
            </a:r>
          </a:p>
        </p:txBody>
      </p:sp>
      <p:cxnSp>
        <p:nvCxnSpPr>
          <p:cNvPr id="51" name="Straight Arrow Connector 50"/>
          <p:cNvCxnSpPr>
            <a:endCxn id="39" idx="5"/>
          </p:cNvCxnSpPr>
          <p:nvPr/>
        </p:nvCxnSpPr>
        <p:spPr>
          <a:xfrm rot="16200000" flipV="1">
            <a:off x="6482088" y="5034287"/>
            <a:ext cx="680713" cy="68071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6248400" y="5715000"/>
            <a:ext cx="2438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00000"/>
                </a:solidFill>
                <a:latin typeface="+mn-lt"/>
              </a:rPr>
              <a:t>Market Offering</a:t>
            </a:r>
          </a:p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(Additional benefits offered </a:t>
            </a:r>
            <a:br>
              <a:rPr lang="en-US" sz="1600" dirty="0" smtClean="0">
                <a:solidFill>
                  <a:srgbClr val="000000"/>
                </a:solidFill>
                <a:latin typeface="+mn-lt"/>
              </a:rPr>
            </a:br>
            <a:r>
              <a:rPr lang="en-US" sz="1600" dirty="0" smtClean="0">
                <a:solidFill>
                  <a:srgbClr val="000000"/>
                </a:solidFill>
                <a:latin typeface="+mn-lt"/>
              </a:rPr>
              <a:t>by partners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3"/>
          <p:cNvSpPr txBox="1">
            <a:spLocks noChangeArrowheads="1"/>
          </p:cNvSpPr>
          <p:nvPr/>
        </p:nvSpPr>
        <p:spPr bwMode="auto">
          <a:xfrm>
            <a:off x="231588" y="457200"/>
            <a:ext cx="94488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457200" indent="-457200" algn="ctr">
              <a:defRPr/>
            </a:pP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rPr>
              <a:t>Commercial </a:t>
            </a:r>
            <a:r>
              <a:rPr lang="en-US" sz="2800" b="1" dirty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</a:rPr>
              <a:t>Open Source Software Business Model</a:t>
            </a: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>
            <a:off x="381000" y="6107113"/>
            <a:ext cx="9296400" cy="369887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Making whole products with open source community!!</a:t>
            </a:r>
            <a:endParaRPr lang="en-US" altLang="ko-KR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</p:txBody>
      </p:sp>
      <p:grpSp>
        <p:nvGrpSpPr>
          <p:cNvPr id="40" name="Group 14"/>
          <p:cNvGrpSpPr>
            <a:grpSpLocks/>
          </p:cNvGrpSpPr>
          <p:nvPr/>
        </p:nvGrpSpPr>
        <p:grpSpPr bwMode="auto">
          <a:xfrm>
            <a:off x="457200" y="2617788"/>
            <a:ext cx="1752600" cy="1506537"/>
            <a:chOff x="6019800" y="2971800"/>
            <a:chExt cx="1752600" cy="1506178"/>
          </a:xfrm>
        </p:grpSpPr>
        <p:sp>
          <p:nvSpPr>
            <p:cNvPr id="41" name="Rounded Rectangle 40"/>
            <p:cNvSpPr/>
            <p:nvPr/>
          </p:nvSpPr>
          <p:spPr>
            <a:xfrm>
              <a:off x="6019800" y="2971800"/>
              <a:ext cx="1752600" cy="1506178"/>
            </a:xfrm>
            <a:prstGeom prst="round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146800" y="3338425"/>
              <a:ext cx="1600200" cy="7761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prstTxWarp prst="textNoShape">
                <a:avLst/>
              </a:prstTxWarp>
              <a:spAutoFit/>
            </a:bodyPr>
            <a:lstStyle/>
            <a:p>
              <a:pPr algn="ctr" defTabSz="939800" eaLnBrk="0" fontAlgn="b" hangingPunct="0">
                <a:spcBef>
                  <a:spcPct val="30000"/>
                </a:spcBef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+mn-lt"/>
                </a:rPr>
                <a:t>Customers</a:t>
              </a:r>
            </a:p>
            <a:p>
              <a:pPr algn="ctr" defTabSz="939800" eaLnBrk="0" fontAlgn="b" hangingPunct="0">
                <a:spcBef>
                  <a:spcPct val="30000"/>
                </a:spcBef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+mn-lt"/>
                </a:rPr>
                <a:t>Partners</a:t>
              </a:r>
            </a:p>
            <a:p>
              <a:pPr algn="ctr" defTabSz="939800" eaLnBrk="0" fontAlgn="b" hangingPunct="0">
                <a:spcBef>
                  <a:spcPct val="30000"/>
                </a:spcBef>
                <a:defRPr/>
              </a:pPr>
              <a:r>
                <a:rPr lang="en-US" sz="1400" b="1" dirty="0">
                  <a:solidFill>
                    <a:srgbClr val="000000"/>
                  </a:solidFill>
                  <a:latin typeface="+mn-lt"/>
                </a:rPr>
                <a:t>OEMs</a:t>
              </a:r>
            </a:p>
          </p:txBody>
        </p:sp>
      </p:grpSp>
      <p:sp>
        <p:nvSpPr>
          <p:cNvPr id="43" name="Hexagon 42"/>
          <p:cNvSpPr/>
          <p:nvPr/>
        </p:nvSpPr>
        <p:spPr>
          <a:xfrm>
            <a:off x="6096000" y="2617788"/>
            <a:ext cx="1752600" cy="1524000"/>
          </a:xfrm>
          <a:prstGeom prst="hexagon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rgbClr val="000000"/>
                </a:solidFill>
              </a:rPr>
              <a:t>Open</a:t>
            </a:r>
          </a:p>
          <a:p>
            <a:pPr algn="ctr">
              <a:defRPr/>
            </a:pPr>
            <a:r>
              <a:rPr lang="en-US" sz="1400" b="1" dirty="0">
                <a:solidFill>
                  <a:srgbClr val="000000"/>
                </a:solidFill>
              </a:rPr>
              <a:t>Source</a:t>
            </a:r>
          </a:p>
          <a:p>
            <a:pPr algn="ctr">
              <a:defRPr/>
            </a:pPr>
            <a:r>
              <a:rPr lang="en-US" sz="1400" b="1" dirty="0">
                <a:solidFill>
                  <a:srgbClr val="000000"/>
                </a:solidFill>
              </a:rPr>
              <a:t>Software</a:t>
            </a:r>
          </a:p>
          <a:p>
            <a:pPr algn="ctr">
              <a:defRPr/>
            </a:pPr>
            <a:r>
              <a:rPr lang="en-US" sz="1400" b="1" dirty="0">
                <a:solidFill>
                  <a:srgbClr val="000000"/>
                </a:solidFill>
              </a:rPr>
              <a:t>Community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2667000" y="2160588"/>
            <a:ext cx="2895600" cy="23622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>
            <a:off x="3048000" y="2262188"/>
            <a:ext cx="2209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algn="ctr" defTabSz="939800" eaLnBrk="0" fontAlgn="b" hangingPunct="0">
              <a:spcBef>
                <a:spcPct val="30000"/>
              </a:spcBef>
              <a:defRPr/>
            </a:pPr>
            <a:r>
              <a:rPr lang="en-US" sz="1400" b="1" dirty="0">
                <a:solidFill>
                  <a:srgbClr val="000000"/>
                </a:solidFill>
                <a:latin typeface="+mn-lt"/>
              </a:rPr>
              <a:t>Commercial Open Source Company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3048000" y="2846388"/>
            <a:ext cx="2133600" cy="121920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1300" b="1" dirty="0">
                <a:solidFill>
                  <a:srgbClr val="FF0000"/>
                </a:solidFill>
              </a:rPr>
              <a:t>‘Go To Market’</a:t>
            </a:r>
          </a:p>
          <a:p>
            <a:pPr algn="ctr">
              <a:defRPr/>
            </a:pPr>
            <a:endParaRPr lang="en-US" sz="1200" b="1" dirty="0"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en-US" sz="1200" dirty="0">
                <a:solidFill>
                  <a:srgbClr val="000000"/>
                </a:solidFill>
              </a:rPr>
              <a:t>Sales, Marketing, Support, Services, Engineering, Product Mgmt.</a:t>
            </a:r>
          </a:p>
        </p:txBody>
      </p:sp>
      <p:sp>
        <p:nvSpPr>
          <p:cNvPr id="47" name="Freeform 46"/>
          <p:cNvSpPr/>
          <p:nvPr/>
        </p:nvSpPr>
        <p:spPr>
          <a:xfrm>
            <a:off x="1295400" y="1398588"/>
            <a:ext cx="5715000" cy="1219200"/>
          </a:xfrm>
          <a:custGeom>
            <a:avLst/>
            <a:gdLst>
              <a:gd name="connsiteX0" fmla="*/ 5559778 w 5559778"/>
              <a:gd name="connsiteY0" fmla="*/ 1025407 h 1025407"/>
              <a:gd name="connsiteX1" fmla="*/ 4529667 w 5559778"/>
              <a:gd name="connsiteY1" fmla="*/ 206963 h 1025407"/>
              <a:gd name="connsiteX2" fmla="*/ 1354667 w 5559778"/>
              <a:gd name="connsiteY2" fmla="*/ 136407 h 1025407"/>
              <a:gd name="connsiteX3" fmla="*/ 0 w 5559778"/>
              <a:gd name="connsiteY3" fmla="*/ 1025407 h 1025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59778" h="1025407">
                <a:moveTo>
                  <a:pt x="5559778" y="1025407"/>
                </a:moveTo>
                <a:cubicBezTo>
                  <a:pt x="5395148" y="690268"/>
                  <a:pt x="5230519" y="355130"/>
                  <a:pt x="4529667" y="206963"/>
                </a:cubicBezTo>
                <a:cubicBezTo>
                  <a:pt x="3828815" y="58796"/>
                  <a:pt x="2109612" y="0"/>
                  <a:pt x="1354667" y="136407"/>
                </a:cubicBezTo>
                <a:cubicBezTo>
                  <a:pt x="599722" y="272814"/>
                  <a:pt x="0" y="1025407"/>
                  <a:pt x="0" y="1025407"/>
                </a:cubicBezTo>
              </a:path>
            </a:pathLst>
          </a:custGeom>
          <a:ln w="222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8" name="Freeform 47"/>
          <p:cNvSpPr/>
          <p:nvPr/>
        </p:nvSpPr>
        <p:spPr>
          <a:xfrm>
            <a:off x="1298575" y="4135438"/>
            <a:ext cx="5756275" cy="1474787"/>
          </a:xfrm>
          <a:custGeom>
            <a:avLst/>
            <a:gdLst>
              <a:gd name="connsiteX0" fmla="*/ 0 w 5757334"/>
              <a:gd name="connsiteY0" fmla="*/ 0 h 1474611"/>
              <a:gd name="connsiteX1" fmla="*/ 1467556 w 5757334"/>
              <a:gd name="connsiteY1" fmla="*/ 1255888 h 1474611"/>
              <a:gd name="connsiteX2" fmla="*/ 4219222 w 5757334"/>
              <a:gd name="connsiteY2" fmla="*/ 1270000 h 1474611"/>
              <a:gd name="connsiteX3" fmla="*/ 5757334 w 5757334"/>
              <a:gd name="connsiteY3" fmla="*/ 28222 h 1474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57334" h="1474611">
                <a:moveTo>
                  <a:pt x="0" y="0"/>
                </a:moveTo>
                <a:cubicBezTo>
                  <a:pt x="382176" y="522110"/>
                  <a:pt x="764352" y="1044221"/>
                  <a:pt x="1467556" y="1255888"/>
                </a:cubicBezTo>
                <a:cubicBezTo>
                  <a:pt x="2170760" y="1467555"/>
                  <a:pt x="3504259" y="1474611"/>
                  <a:pt x="4219222" y="1270000"/>
                </a:cubicBezTo>
                <a:cubicBezTo>
                  <a:pt x="4934185" y="1065389"/>
                  <a:pt x="5345759" y="546805"/>
                  <a:pt x="5757334" y="28222"/>
                </a:cubicBezTo>
              </a:path>
            </a:pathLst>
          </a:custGeom>
          <a:ln w="222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49" name="Straight Arrow Connector 48"/>
          <p:cNvCxnSpPr/>
          <p:nvPr/>
        </p:nvCxnSpPr>
        <p:spPr>
          <a:xfrm rot="10800000">
            <a:off x="5562600" y="2922588"/>
            <a:ext cx="762000" cy="158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 rot="10800000">
            <a:off x="2133600" y="2998788"/>
            <a:ext cx="533400" cy="158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>
            <a:off x="2133600" y="3532188"/>
            <a:ext cx="533400" cy="158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>
            <a:off x="5562600" y="3532188"/>
            <a:ext cx="762000" cy="158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3" name="Freeform 52"/>
          <p:cNvSpPr/>
          <p:nvPr/>
        </p:nvSpPr>
        <p:spPr>
          <a:xfrm>
            <a:off x="7083425" y="2000250"/>
            <a:ext cx="1603375" cy="2836863"/>
          </a:xfrm>
          <a:custGeom>
            <a:avLst/>
            <a:gdLst>
              <a:gd name="connsiteX0" fmla="*/ 0 w 1603963"/>
              <a:gd name="connsiteY0" fmla="*/ 564444 h 2836333"/>
              <a:gd name="connsiteX1" fmla="*/ 536223 w 1603963"/>
              <a:gd name="connsiteY1" fmla="*/ 0 h 2836333"/>
              <a:gd name="connsiteX2" fmla="*/ 1382889 w 1603963"/>
              <a:gd name="connsiteY2" fmla="*/ 564444 h 2836333"/>
              <a:gd name="connsiteX3" fmla="*/ 1580445 w 1603963"/>
              <a:gd name="connsiteY3" fmla="*/ 1397000 h 2836333"/>
              <a:gd name="connsiteX4" fmla="*/ 1241778 w 1603963"/>
              <a:gd name="connsiteY4" fmla="*/ 2596444 h 2836333"/>
              <a:gd name="connsiteX5" fmla="*/ 536223 w 1603963"/>
              <a:gd name="connsiteY5" fmla="*/ 2765778 h 2836333"/>
              <a:gd name="connsiteX6" fmla="*/ 56445 w 1603963"/>
              <a:gd name="connsiteY6" fmla="*/ 2173111 h 28363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03963" h="2836333">
                <a:moveTo>
                  <a:pt x="0" y="564444"/>
                </a:moveTo>
                <a:cubicBezTo>
                  <a:pt x="152871" y="282222"/>
                  <a:pt x="305742" y="0"/>
                  <a:pt x="536223" y="0"/>
                </a:cubicBezTo>
                <a:cubicBezTo>
                  <a:pt x="766704" y="0"/>
                  <a:pt x="1208852" y="331611"/>
                  <a:pt x="1382889" y="564444"/>
                </a:cubicBezTo>
                <a:cubicBezTo>
                  <a:pt x="1556926" y="797277"/>
                  <a:pt x="1603963" y="1058333"/>
                  <a:pt x="1580445" y="1397000"/>
                </a:cubicBezTo>
                <a:cubicBezTo>
                  <a:pt x="1556927" y="1735667"/>
                  <a:pt x="1415815" y="2368314"/>
                  <a:pt x="1241778" y="2596444"/>
                </a:cubicBezTo>
                <a:cubicBezTo>
                  <a:pt x="1067741" y="2824574"/>
                  <a:pt x="733778" y="2836333"/>
                  <a:pt x="536223" y="2765778"/>
                </a:cubicBezTo>
                <a:cubicBezTo>
                  <a:pt x="338668" y="2695223"/>
                  <a:pt x="56445" y="2173111"/>
                  <a:pt x="56445" y="2173111"/>
                </a:cubicBezTo>
              </a:path>
            </a:pathLst>
          </a:custGeom>
          <a:ln w="222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4" name="TextBox 53"/>
          <p:cNvSpPr txBox="1"/>
          <p:nvPr/>
        </p:nvSpPr>
        <p:spPr>
          <a:xfrm>
            <a:off x="8305800" y="3095625"/>
            <a:ext cx="4572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3200" b="1" dirty="0">
                <a:latin typeface="+mn-lt"/>
              </a:rPr>
              <a:t>+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886200" y="1384300"/>
            <a:ext cx="4572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3200" b="1" dirty="0">
                <a:latin typeface="+mn-lt"/>
              </a:rPr>
              <a:t>+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191000" y="5076825"/>
            <a:ext cx="4572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3200" b="1" dirty="0">
                <a:latin typeface="+mn-lt"/>
              </a:rPr>
              <a:t>+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981200" y="1168400"/>
            <a:ext cx="44196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dirty="0">
                <a:solidFill>
                  <a:srgbClr val="000000"/>
                </a:solidFill>
                <a:latin typeface="+mn-lt"/>
              </a:rPr>
              <a:t>Community can hear more functionalities &amp; request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981200" y="5575300"/>
            <a:ext cx="50292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dirty="0">
                <a:solidFill>
                  <a:srgbClr val="000000"/>
                </a:solidFill>
                <a:latin typeface="+mn-lt"/>
              </a:rPr>
              <a:t>Customers can gain higher quality software at a better pric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467600" y="2108200"/>
            <a:ext cx="2286000" cy="495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dirty="0">
                <a:solidFill>
                  <a:srgbClr val="000000"/>
                </a:solidFill>
                <a:latin typeface="+mn-lt"/>
              </a:rPr>
              <a:t>The bigger community </a:t>
            </a:r>
          </a:p>
          <a:p>
            <a:pPr marL="165100" indent="-114300" defTabSz="939800" eaLnBrk="0" fontAlgn="b" hangingPunct="0">
              <a:spcBef>
                <a:spcPct val="30000"/>
              </a:spcBef>
              <a:defRPr/>
            </a:pPr>
            <a:r>
              <a:rPr lang="en-US" sz="1400" dirty="0">
                <a:solidFill>
                  <a:srgbClr val="000000"/>
                </a:solidFill>
                <a:latin typeface="+mn-lt"/>
              </a:rPr>
              <a:t>the more resourc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/>
        </p:nvSpPr>
        <p:spPr>
          <a:xfrm>
            <a:off x="2590800" y="152400"/>
            <a:ext cx="4828564" cy="4828564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3764717" y="1289553"/>
            <a:ext cx="383923" cy="220046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ACCES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65186" y="1673477"/>
            <a:ext cx="383923" cy="220046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MONEY</a:t>
            </a:r>
            <a:endParaRPr lang="en-US" dirty="0">
              <a:solidFill>
                <a:srgbClr val="FF0000"/>
              </a:solidFill>
            </a:endParaRPr>
          </a:p>
        </p:txBody>
      </p:sp>
      <p:grpSp>
        <p:nvGrpSpPr>
          <p:cNvPr id="6" name="Group 136"/>
          <p:cNvGrpSpPr>
            <a:grpSpLocks/>
          </p:cNvGrpSpPr>
          <p:nvPr/>
        </p:nvGrpSpPr>
        <p:grpSpPr bwMode="auto">
          <a:xfrm>
            <a:off x="4778254" y="1865576"/>
            <a:ext cx="568921" cy="1218134"/>
            <a:chOff x="2304" y="1344"/>
            <a:chExt cx="498" cy="1245"/>
          </a:xfrm>
        </p:grpSpPr>
        <p:sp>
          <p:nvSpPr>
            <p:cNvPr id="7" name="Freeform 137"/>
            <p:cNvSpPr>
              <a:spLocks/>
            </p:cNvSpPr>
            <p:nvPr/>
          </p:nvSpPr>
          <p:spPr bwMode="gray">
            <a:xfrm>
              <a:off x="2425" y="1344"/>
              <a:ext cx="233" cy="254"/>
            </a:xfrm>
            <a:custGeom>
              <a:avLst/>
              <a:gdLst/>
              <a:ahLst/>
              <a:cxnLst>
                <a:cxn ang="0">
                  <a:pos x="133" y="0"/>
                </a:cxn>
                <a:cxn ang="0">
                  <a:pos x="161" y="3"/>
                </a:cxn>
                <a:cxn ang="0">
                  <a:pos x="186" y="12"/>
                </a:cxn>
                <a:cxn ang="0">
                  <a:pos x="209" y="25"/>
                </a:cxn>
                <a:cxn ang="0">
                  <a:pos x="228" y="42"/>
                </a:cxn>
                <a:cxn ang="0">
                  <a:pos x="245" y="64"/>
                </a:cxn>
                <a:cxn ang="0">
                  <a:pos x="257" y="88"/>
                </a:cxn>
                <a:cxn ang="0">
                  <a:pos x="265" y="116"/>
                </a:cxn>
                <a:cxn ang="0">
                  <a:pos x="267" y="146"/>
                </a:cxn>
                <a:cxn ang="0">
                  <a:pos x="265" y="175"/>
                </a:cxn>
                <a:cxn ang="0">
                  <a:pos x="257" y="203"/>
                </a:cxn>
                <a:cxn ang="0">
                  <a:pos x="245" y="227"/>
                </a:cxn>
                <a:cxn ang="0">
                  <a:pos x="228" y="249"/>
                </a:cxn>
                <a:cxn ang="0">
                  <a:pos x="209" y="267"/>
                </a:cxn>
                <a:cxn ang="0">
                  <a:pos x="186" y="281"/>
                </a:cxn>
                <a:cxn ang="0">
                  <a:pos x="161" y="289"/>
                </a:cxn>
                <a:cxn ang="0">
                  <a:pos x="133" y="292"/>
                </a:cxn>
                <a:cxn ang="0">
                  <a:pos x="103" y="288"/>
                </a:cxn>
                <a:cxn ang="0">
                  <a:pos x="75" y="277"/>
                </a:cxn>
                <a:cxn ang="0">
                  <a:pos x="51" y="260"/>
                </a:cxn>
                <a:cxn ang="0">
                  <a:pos x="29" y="237"/>
                </a:cxn>
                <a:cxn ang="0">
                  <a:pos x="13" y="210"/>
                </a:cxn>
                <a:cxn ang="0">
                  <a:pos x="4" y="178"/>
                </a:cxn>
                <a:cxn ang="0">
                  <a:pos x="0" y="146"/>
                </a:cxn>
                <a:cxn ang="0">
                  <a:pos x="4" y="113"/>
                </a:cxn>
                <a:cxn ang="0">
                  <a:pos x="13" y="81"/>
                </a:cxn>
                <a:cxn ang="0">
                  <a:pos x="29" y="54"/>
                </a:cxn>
                <a:cxn ang="0">
                  <a:pos x="51" y="32"/>
                </a:cxn>
                <a:cxn ang="0">
                  <a:pos x="75" y="14"/>
                </a:cxn>
                <a:cxn ang="0">
                  <a:pos x="103" y="3"/>
                </a:cxn>
                <a:cxn ang="0">
                  <a:pos x="133" y="0"/>
                </a:cxn>
              </a:cxnLst>
              <a:rect l="0" t="0" r="r" b="b"/>
              <a:pathLst>
                <a:path w="267" h="292">
                  <a:moveTo>
                    <a:pt x="133" y="0"/>
                  </a:moveTo>
                  <a:lnTo>
                    <a:pt x="161" y="3"/>
                  </a:lnTo>
                  <a:lnTo>
                    <a:pt x="186" y="12"/>
                  </a:lnTo>
                  <a:lnTo>
                    <a:pt x="209" y="25"/>
                  </a:lnTo>
                  <a:lnTo>
                    <a:pt x="228" y="42"/>
                  </a:lnTo>
                  <a:lnTo>
                    <a:pt x="245" y="64"/>
                  </a:lnTo>
                  <a:lnTo>
                    <a:pt x="257" y="88"/>
                  </a:lnTo>
                  <a:lnTo>
                    <a:pt x="265" y="116"/>
                  </a:lnTo>
                  <a:lnTo>
                    <a:pt x="267" y="146"/>
                  </a:lnTo>
                  <a:lnTo>
                    <a:pt x="265" y="175"/>
                  </a:lnTo>
                  <a:lnTo>
                    <a:pt x="257" y="203"/>
                  </a:lnTo>
                  <a:lnTo>
                    <a:pt x="245" y="227"/>
                  </a:lnTo>
                  <a:lnTo>
                    <a:pt x="228" y="249"/>
                  </a:lnTo>
                  <a:lnTo>
                    <a:pt x="209" y="267"/>
                  </a:lnTo>
                  <a:lnTo>
                    <a:pt x="186" y="281"/>
                  </a:lnTo>
                  <a:lnTo>
                    <a:pt x="161" y="289"/>
                  </a:lnTo>
                  <a:lnTo>
                    <a:pt x="133" y="292"/>
                  </a:lnTo>
                  <a:lnTo>
                    <a:pt x="103" y="288"/>
                  </a:lnTo>
                  <a:lnTo>
                    <a:pt x="75" y="277"/>
                  </a:lnTo>
                  <a:lnTo>
                    <a:pt x="51" y="260"/>
                  </a:lnTo>
                  <a:lnTo>
                    <a:pt x="29" y="237"/>
                  </a:lnTo>
                  <a:lnTo>
                    <a:pt x="13" y="210"/>
                  </a:lnTo>
                  <a:lnTo>
                    <a:pt x="4" y="178"/>
                  </a:lnTo>
                  <a:lnTo>
                    <a:pt x="0" y="146"/>
                  </a:lnTo>
                  <a:lnTo>
                    <a:pt x="4" y="113"/>
                  </a:lnTo>
                  <a:lnTo>
                    <a:pt x="13" y="81"/>
                  </a:lnTo>
                  <a:lnTo>
                    <a:pt x="29" y="54"/>
                  </a:lnTo>
                  <a:lnTo>
                    <a:pt x="51" y="32"/>
                  </a:lnTo>
                  <a:lnTo>
                    <a:pt x="75" y="14"/>
                  </a:lnTo>
                  <a:lnTo>
                    <a:pt x="103" y="3"/>
                  </a:lnTo>
                  <a:lnTo>
                    <a:pt x="133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38"/>
            <p:cNvSpPr>
              <a:spLocks/>
            </p:cNvSpPr>
            <p:nvPr/>
          </p:nvSpPr>
          <p:spPr bwMode="gray">
            <a:xfrm>
              <a:off x="2304" y="1625"/>
              <a:ext cx="498" cy="964"/>
            </a:xfrm>
            <a:custGeom>
              <a:avLst/>
              <a:gdLst/>
              <a:ahLst/>
              <a:cxnLst>
                <a:cxn ang="0">
                  <a:pos x="72" y="5"/>
                </a:cxn>
                <a:cxn ang="0">
                  <a:pos x="30" y="32"/>
                </a:cxn>
                <a:cxn ang="0">
                  <a:pos x="4" y="75"/>
                </a:cxn>
                <a:cxn ang="0">
                  <a:pos x="0" y="509"/>
                </a:cxn>
                <a:cxn ang="0">
                  <a:pos x="1" y="516"/>
                </a:cxn>
                <a:cxn ang="0">
                  <a:pos x="9" y="533"/>
                </a:cxn>
                <a:cxn ang="0">
                  <a:pos x="26" y="550"/>
                </a:cxn>
                <a:cxn ang="0">
                  <a:pos x="56" y="557"/>
                </a:cxn>
                <a:cxn ang="0">
                  <a:pos x="84" y="551"/>
                </a:cxn>
                <a:cxn ang="0">
                  <a:pos x="100" y="534"/>
                </a:cxn>
                <a:cxn ang="0">
                  <a:pos x="106" y="516"/>
                </a:cxn>
                <a:cxn ang="0">
                  <a:pos x="108" y="503"/>
                </a:cxn>
                <a:cxn ang="0">
                  <a:pos x="108" y="166"/>
                </a:cxn>
                <a:cxn ang="0">
                  <a:pos x="135" y="1066"/>
                </a:cxn>
                <a:cxn ang="0">
                  <a:pos x="138" y="1073"/>
                </a:cxn>
                <a:cxn ang="0">
                  <a:pos x="151" y="1089"/>
                </a:cxn>
                <a:cxn ang="0">
                  <a:pos x="174" y="1105"/>
                </a:cxn>
                <a:cxn ang="0">
                  <a:pos x="199" y="1111"/>
                </a:cxn>
                <a:cxn ang="0">
                  <a:pos x="227" y="1110"/>
                </a:cxn>
                <a:cxn ang="0">
                  <a:pos x="255" y="1097"/>
                </a:cxn>
                <a:cxn ang="0">
                  <a:pos x="272" y="1080"/>
                </a:cxn>
                <a:cxn ang="0">
                  <a:pos x="278" y="1068"/>
                </a:cxn>
                <a:cxn ang="0">
                  <a:pos x="279" y="499"/>
                </a:cxn>
                <a:cxn ang="0">
                  <a:pos x="302" y="503"/>
                </a:cxn>
                <a:cxn ang="0">
                  <a:pos x="302" y="534"/>
                </a:cxn>
                <a:cxn ang="0">
                  <a:pos x="304" y="590"/>
                </a:cxn>
                <a:cxn ang="0">
                  <a:pos x="304" y="664"/>
                </a:cxn>
                <a:cxn ang="0">
                  <a:pos x="304" y="750"/>
                </a:cxn>
                <a:cxn ang="0">
                  <a:pos x="304" y="838"/>
                </a:cxn>
                <a:cxn ang="0">
                  <a:pos x="305" y="926"/>
                </a:cxn>
                <a:cxn ang="0">
                  <a:pos x="305" y="1004"/>
                </a:cxn>
                <a:cxn ang="0">
                  <a:pos x="305" y="1066"/>
                </a:cxn>
                <a:cxn ang="0">
                  <a:pos x="306" y="1073"/>
                </a:cxn>
                <a:cxn ang="0">
                  <a:pos x="315" y="1088"/>
                </a:cxn>
                <a:cxn ang="0">
                  <a:pos x="335" y="1103"/>
                </a:cxn>
                <a:cxn ang="0">
                  <a:pos x="372" y="1111"/>
                </a:cxn>
                <a:cxn ang="0">
                  <a:pos x="408" y="1103"/>
                </a:cxn>
                <a:cxn ang="0">
                  <a:pos x="429" y="1089"/>
                </a:cxn>
                <a:cxn ang="0">
                  <a:pos x="437" y="1073"/>
                </a:cxn>
                <a:cxn ang="0">
                  <a:pos x="438" y="1067"/>
                </a:cxn>
                <a:cxn ang="0">
                  <a:pos x="466" y="166"/>
                </a:cxn>
                <a:cxn ang="0">
                  <a:pos x="468" y="503"/>
                </a:cxn>
                <a:cxn ang="0">
                  <a:pos x="472" y="517"/>
                </a:cxn>
                <a:cxn ang="0">
                  <a:pos x="483" y="537"/>
                </a:cxn>
                <a:cxn ang="0">
                  <a:pos x="505" y="551"/>
                </a:cxn>
                <a:cxn ang="0">
                  <a:pos x="536" y="551"/>
                </a:cxn>
                <a:cxn ang="0">
                  <a:pos x="557" y="537"/>
                </a:cxn>
                <a:cxn ang="0">
                  <a:pos x="570" y="517"/>
                </a:cxn>
                <a:cxn ang="0">
                  <a:pos x="573" y="508"/>
                </a:cxn>
                <a:cxn ang="0">
                  <a:pos x="572" y="68"/>
                </a:cxn>
                <a:cxn ang="0">
                  <a:pos x="546" y="28"/>
                </a:cxn>
                <a:cxn ang="0">
                  <a:pos x="506" y="4"/>
                </a:cxn>
                <a:cxn ang="0">
                  <a:pos x="94" y="0"/>
                </a:cxn>
              </a:cxnLst>
              <a:rect l="0" t="0" r="r" b="b"/>
              <a:pathLst>
                <a:path w="573" h="1111">
                  <a:moveTo>
                    <a:pt x="94" y="0"/>
                  </a:moveTo>
                  <a:lnTo>
                    <a:pt x="72" y="5"/>
                  </a:lnTo>
                  <a:lnTo>
                    <a:pt x="50" y="16"/>
                  </a:lnTo>
                  <a:lnTo>
                    <a:pt x="30" y="32"/>
                  </a:lnTo>
                  <a:lnTo>
                    <a:pt x="15" y="53"/>
                  </a:lnTo>
                  <a:lnTo>
                    <a:pt x="4" y="75"/>
                  </a:lnTo>
                  <a:lnTo>
                    <a:pt x="0" y="99"/>
                  </a:lnTo>
                  <a:lnTo>
                    <a:pt x="0" y="509"/>
                  </a:lnTo>
                  <a:lnTo>
                    <a:pt x="0" y="511"/>
                  </a:lnTo>
                  <a:lnTo>
                    <a:pt x="1" y="516"/>
                  </a:lnTo>
                  <a:lnTo>
                    <a:pt x="4" y="525"/>
                  </a:lnTo>
                  <a:lnTo>
                    <a:pt x="9" y="533"/>
                  </a:lnTo>
                  <a:lnTo>
                    <a:pt x="16" y="543"/>
                  </a:lnTo>
                  <a:lnTo>
                    <a:pt x="26" y="550"/>
                  </a:lnTo>
                  <a:lnTo>
                    <a:pt x="39" y="556"/>
                  </a:lnTo>
                  <a:lnTo>
                    <a:pt x="56" y="557"/>
                  </a:lnTo>
                  <a:lnTo>
                    <a:pt x="72" y="556"/>
                  </a:lnTo>
                  <a:lnTo>
                    <a:pt x="84" y="551"/>
                  </a:lnTo>
                  <a:lnTo>
                    <a:pt x="92" y="543"/>
                  </a:lnTo>
                  <a:lnTo>
                    <a:pt x="100" y="534"/>
                  </a:lnTo>
                  <a:lnTo>
                    <a:pt x="103" y="525"/>
                  </a:lnTo>
                  <a:lnTo>
                    <a:pt x="106" y="516"/>
                  </a:lnTo>
                  <a:lnTo>
                    <a:pt x="107" y="508"/>
                  </a:lnTo>
                  <a:lnTo>
                    <a:pt x="108" y="503"/>
                  </a:lnTo>
                  <a:lnTo>
                    <a:pt x="108" y="500"/>
                  </a:lnTo>
                  <a:lnTo>
                    <a:pt x="108" y="166"/>
                  </a:lnTo>
                  <a:lnTo>
                    <a:pt x="134" y="167"/>
                  </a:lnTo>
                  <a:lnTo>
                    <a:pt x="135" y="1066"/>
                  </a:lnTo>
                  <a:lnTo>
                    <a:pt x="136" y="1068"/>
                  </a:lnTo>
                  <a:lnTo>
                    <a:pt x="138" y="1073"/>
                  </a:lnTo>
                  <a:lnTo>
                    <a:pt x="143" y="1080"/>
                  </a:lnTo>
                  <a:lnTo>
                    <a:pt x="151" y="1089"/>
                  </a:lnTo>
                  <a:lnTo>
                    <a:pt x="162" y="1097"/>
                  </a:lnTo>
                  <a:lnTo>
                    <a:pt x="174" y="1105"/>
                  </a:lnTo>
                  <a:lnTo>
                    <a:pt x="189" y="1110"/>
                  </a:lnTo>
                  <a:lnTo>
                    <a:pt x="199" y="1111"/>
                  </a:lnTo>
                  <a:lnTo>
                    <a:pt x="217" y="1111"/>
                  </a:lnTo>
                  <a:lnTo>
                    <a:pt x="227" y="1110"/>
                  </a:lnTo>
                  <a:lnTo>
                    <a:pt x="243" y="1105"/>
                  </a:lnTo>
                  <a:lnTo>
                    <a:pt x="255" y="1097"/>
                  </a:lnTo>
                  <a:lnTo>
                    <a:pt x="265" y="1089"/>
                  </a:lnTo>
                  <a:lnTo>
                    <a:pt x="272" y="1080"/>
                  </a:lnTo>
                  <a:lnTo>
                    <a:pt x="276" y="1073"/>
                  </a:lnTo>
                  <a:lnTo>
                    <a:pt x="278" y="1068"/>
                  </a:lnTo>
                  <a:lnTo>
                    <a:pt x="279" y="1066"/>
                  </a:lnTo>
                  <a:lnTo>
                    <a:pt x="279" y="499"/>
                  </a:lnTo>
                  <a:lnTo>
                    <a:pt x="302" y="499"/>
                  </a:lnTo>
                  <a:lnTo>
                    <a:pt x="302" y="503"/>
                  </a:lnTo>
                  <a:lnTo>
                    <a:pt x="302" y="515"/>
                  </a:lnTo>
                  <a:lnTo>
                    <a:pt x="302" y="534"/>
                  </a:lnTo>
                  <a:lnTo>
                    <a:pt x="302" y="560"/>
                  </a:lnTo>
                  <a:lnTo>
                    <a:pt x="304" y="590"/>
                  </a:lnTo>
                  <a:lnTo>
                    <a:pt x="304" y="626"/>
                  </a:lnTo>
                  <a:lnTo>
                    <a:pt x="304" y="664"/>
                  </a:lnTo>
                  <a:lnTo>
                    <a:pt x="304" y="706"/>
                  </a:lnTo>
                  <a:lnTo>
                    <a:pt x="304" y="750"/>
                  </a:lnTo>
                  <a:lnTo>
                    <a:pt x="304" y="793"/>
                  </a:lnTo>
                  <a:lnTo>
                    <a:pt x="304" y="838"/>
                  </a:lnTo>
                  <a:lnTo>
                    <a:pt x="305" y="882"/>
                  </a:lnTo>
                  <a:lnTo>
                    <a:pt x="305" y="926"/>
                  </a:lnTo>
                  <a:lnTo>
                    <a:pt x="305" y="966"/>
                  </a:lnTo>
                  <a:lnTo>
                    <a:pt x="305" y="1004"/>
                  </a:lnTo>
                  <a:lnTo>
                    <a:pt x="305" y="1037"/>
                  </a:lnTo>
                  <a:lnTo>
                    <a:pt x="305" y="1066"/>
                  </a:lnTo>
                  <a:lnTo>
                    <a:pt x="305" y="1067"/>
                  </a:lnTo>
                  <a:lnTo>
                    <a:pt x="306" y="1073"/>
                  </a:lnTo>
                  <a:lnTo>
                    <a:pt x="310" y="1079"/>
                  </a:lnTo>
                  <a:lnTo>
                    <a:pt x="315" y="1088"/>
                  </a:lnTo>
                  <a:lnTo>
                    <a:pt x="323" y="1096"/>
                  </a:lnTo>
                  <a:lnTo>
                    <a:pt x="335" y="1103"/>
                  </a:lnTo>
                  <a:lnTo>
                    <a:pt x="351" y="1108"/>
                  </a:lnTo>
                  <a:lnTo>
                    <a:pt x="372" y="1111"/>
                  </a:lnTo>
                  <a:lnTo>
                    <a:pt x="392" y="1108"/>
                  </a:lnTo>
                  <a:lnTo>
                    <a:pt x="408" y="1103"/>
                  </a:lnTo>
                  <a:lnTo>
                    <a:pt x="420" y="1096"/>
                  </a:lnTo>
                  <a:lnTo>
                    <a:pt x="429" y="1089"/>
                  </a:lnTo>
                  <a:lnTo>
                    <a:pt x="434" y="1080"/>
                  </a:lnTo>
                  <a:lnTo>
                    <a:pt x="437" y="1073"/>
                  </a:lnTo>
                  <a:lnTo>
                    <a:pt x="438" y="1068"/>
                  </a:lnTo>
                  <a:lnTo>
                    <a:pt x="438" y="1067"/>
                  </a:lnTo>
                  <a:lnTo>
                    <a:pt x="440" y="166"/>
                  </a:lnTo>
                  <a:lnTo>
                    <a:pt x="466" y="166"/>
                  </a:lnTo>
                  <a:lnTo>
                    <a:pt x="466" y="500"/>
                  </a:lnTo>
                  <a:lnTo>
                    <a:pt x="468" y="503"/>
                  </a:lnTo>
                  <a:lnTo>
                    <a:pt x="469" y="509"/>
                  </a:lnTo>
                  <a:lnTo>
                    <a:pt x="472" y="517"/>
                  </a:lnTo>
                  <a:lnTo>
                    <a:pt x="477" y="527"/>
                  </a:lnTo>
                  <a:lnTo>
                    <a:pt x="483" y="537"/>
                  </a:lnTo>
                  <a:lnTo>
                    <a:pt x="493" y="545"/>
                  </a:lnTo>
                  <a:lnTo>
                    <a:pt x="505" y="551"/>
                  </a:lnTo>
                  <a:lnTo>
                    <a:pt x="520" y="554"/>
                  </a:lnTo>
                  <a:lnTo>
                    <a:pt x="536" y="551"/>
                  </a:lnTo>
                  <a:lnTo>
                    <a:pt x="548" y="545"/>
                  </a:lnTo>
                  <a:lnTo>
                    <a:pt x="557" y="537"/>
                  </a:lnTo>
                  <a:lnTo>
                    <a:pt x="563" y="527"/>
                  </a:lnTo>
                  <a:lnTo>
                    <a:pt x="570" y="517"/>
                  </a:lnTo>
                  <a:lnTo>
                    <a:pt x="573" y="510"/>
                  </a:lnTo>
                  <a:lnTo>
                    <a:pt x="573" y="508"/>
                  </a:lnTo>
                  <a:lnTo>
                    <a:pt x="573" y="79"/>
                  </a:lnTo>
                  <a:lnTo>
                    <a:pt x="572" y="68"/>
                  </a:lnTo>
                  <a:lnTo>
                    <a:pt x="561" y="47"/>
                  </a:lnTo>
                  <a:lnTo>
                    <a:pt x="546" y="28"/>
                  </a:lnTo>
                  <a:lnTo>
                    <a:pt x="528" y="14"/>
                  </a:lnTo>
                  <a:lnTo>
                    <a:pt x="506" y="4"/>
                  </a:lnTo>
                  <a:lnTo>
                    <a:pt x="485" y="0"/>
                  </a:lnTo>
                  <a:lnTo>
                    <a:pt x="94" y="0"/>
                  </a:lnTo>
                  <a:lnTo>
                    <a:pt x="94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" name="Rectangle 8"/>
          <p:cNvSpPr/>
          <p:nvPr/>
        </p:nvSpPr>
        <p:spPr>
          <a:xfrm>
            <a:off x="3764717" y="3490021"/>
            <a:ext cx="2200469" cy="38392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TIM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148640" y="1289553"/>
            <a:ext cx="2200469" cy="38392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SKILL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16290" y="3125937"/>
            <a:ext cx="1095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Customer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4318511" y="702095"/>
            <a:ext cx="14695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ext Demand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4318511" y="4139697"/>
            <a:ext cx="1352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ext Market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28600" y="5119806"/>
            <a:ext cx="9372600" cy="1661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65100" indent="-114300" algn="ctr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36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Targeting pains of real customers </a:t>
            </a:r>
            <a:br>
              <a:rPr lang="en-US" sz="36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</a:br>
            <a:r>
              <a:rPr lang="en-US" sz="36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or</a:t>
            </a:r>
            <a:br>
              <a:rPr lang="en-US" sz="36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</a:br>
            <a:r>
              <a:rPr lang="en-US" sz="36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p</a:t>
            </a:r>
            <a:r>
              <a:rPr lang="en-US" sz="36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ursuing the scarcity </a:t>
            </a:r>
            <a:r>
              <a:rPr lang="en-US" sz="3600" b="1" i="1" dirty="0" smtClean="0">
                <a:solidFill>
                  <a:srgbClr val="FF6600"/>
                </a:solidFill>
                <a:effectLst>
                  <a:glow rad="101600">
                    <a:schemeClr val="accent3">
                      <a:lumMod val="40000"/>
                      <a:lumOff val="60000"/>
                      <a:alpha val="75000"/>
                    </a:schemeClr>
                  </a:glow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a:rPr>
              <a:t>with OSS!!</a:t>
            </a:r>
            <a:endParaRPr lang="en-US" sz="3600" b="1" i="1" dirty="0" smtClean="0">
              <a:solidFill>
                <a:srgbClr val="FF6600"/>
              </a:solidFill>
              <a:effectLst>
                <a:glow rad="101600">
                  <a:schemeClr val="accent3">
                    <a:lumMod val="40000"/>
                    <a:lumOff val="60000"/>
                    <a:alpha val="75000"/>
                  </a:schemeClr>
                </a:glow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2286000" y="2514600"/>
            <a:ext cx="5725726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65100" indent="-114300" defTabSz="939800" eaLnBrk="0" fontAlgn="b" hangingPunct="0">
              <a:spcBef>
                <a:spcPct val="30000"/>
              </a:spcBef>
              <a:spcAft>
                <a:spcPct val="0"/>
              </a:spcAft>
            </a:pPr>
            <a:r>
              <a:rPr lang="en-US" sz="8000" dirty="0" smtClean="0">
                <a:solidFill>
                  <a:srgbClr val="000000"/>
                </a:solidFill>
                <a:latin typeface="+mn-lt"/>
              </a:rPr>
              <a:t>Thank You!!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스크린샷 2011-10-26 오후 4.49.1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8400"/>
            <a:ext cx="9906000" cy="45212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oogle_logo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457200"/>
            <a:ext cx="4114800" cy="1714500"/>
          </a:xfrm>
          <a:prstGeom prst="rect">
            <a:avLst/>
          </a:prstGeom>
        </p:spPr>
      </p:pic>
      <p:pic>
        <p:nvPicPr>
          <p:cNvPr id="6" name="Picture 5" descr="yahoo-logo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0" y="2286000"/>
            <a:ext cx="5791200" cy="1622690"/>
          </a:xfrm>
          <a:prstGeom prst="rect">
            <a:avLst/>
          </a:prstGeom>
        </p:spPr>
      </p:pic>
      <p:pic>
        <p:nvPicPr>
          <p:cNvPr id="7" name="Picture 6" descr="facebook-logo1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4495800"/>
            <a:ext cx="4998720" cy="165811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20090512101548270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7400" y="1447800"/>
            <a:ext cx="5867400" cy="3060827"/>
          </a:xfrm>
          <a:prstGeom prst="rect">
            <a:avLst/>
          </a:prstGeom>
        </p:spPr>
      </p:pic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94235" y="5410200"/>
            <a:ext cx="9547411" cy="430887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 IBM committed USD 1Billion to open source in 2001</a:t>
            </a:r>
            <a:endParaRPr lang="en-US" altLang="ko-KR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52400" y="5410200"/>
            <a:ext cx="9448800" cy="861774"/>
          </a:xfrm>
          <a:prstGeom prst="rect">
            <a:avLst/>
          </a:pr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336550" indent="-285750" defTabSz="939800" eaLnBrk="0" fontAlgn="b" hangingPunct="0">
              <a:spcBef>
                <a:spcPct val="30000"/>
              </a:spcBef>
              <a:buFont typeface="Wingdings" pitchFamily="2" charset="2"/>
              <a:buChar char="è"/>
              <a:defRPr/>
            </a:pPr>
            <a:r>
              <a:rPr lang="en-US" altLang="ko-K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  <a:cs typeface="+mn-cs"/>
              </a:rPr>
              <a:t> OS X is built on top of 2 key open source projects,   Mach3 &amp; FreeBSD 3.2 </a:t>
            </a:r>
            <a:endParaRPr lang="en-US" altLang="ko-KR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ea"/>
              <a:ea typeface="+mn-ea"/>
              <a:cs typeface="+mn-cs"/>
            </a:endParaRPr>
          </a:p>
        </p:txBody>
      </p:sp>
      <p:pic>
        <p:nvPicPr>
          <p:cNvPr id="6" name="Picture 5" descr="macosx-box-big.gi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600" y="762000"/>
            <a:ext cx="3987800" cy="4203700"/>
          </a:xfrm>
          <a:prstGeom prst="rect">
            <a:avLst/>
          </a:prstGeom>
        </p:spPr>
      </p:pic>
      <p:pic>
        <p:nvPicPr>
          <p:cNvPr id="7" name="Picture 6" descr="silver-apple-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00" y="1219200"/>
            <a:ext cx="2590800" cy="32310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ystem-architectur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5412" y="1341718"/>
            <a:ext cx="6260753" cy="4495800"/>
          </a:xfrm>
          <a:prstGeom prst="rect">
            <a:avLst/>
          </a:prstGeom>
        </p:spPr>
      </p:pic>
      <p:pic>
        <p:nvPicPr>
          <p:cNvPr id="6" name="Picture 5" descr="100px-Android_robot.svg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1082" y="2610224"/>
            <a:ext cx="1742831" cy="203911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why-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9908984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1yo1pyby5ECE02m7d8KcMA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1yo1pyby5ECE02m7d8KcMA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1yo1pyby5ECE02m7d8KcMA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1yo1pyby5ECE02m7d8KcMA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1yo1pyby5ECE02m7d8KcMA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1yo1pyby5ECE02m7d8KcMA"/>
</p:tagLst>
</file>

<file path=ppt/theme/theme1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165100" indent="-114300" defTabSz="939800" eaLnBrk="0" fontAlgn="b" hangingPunct="0">
          <a:spcBef>
            <a:spcPct val="30000"/>
          </a:spcBef>
          <a:spcAft>
            <a:spcPct val="0"/>
          </a:spcAft>
          <a:buFont typeface="Arial" pitchFamily="34" charset="0"/>
          <a:buChar char="•"/>
          <a:defRPr sz="1400" dirty="0" smtClean="0">
            <a:solidFill>
              <a:srgbClr val="000000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85</TotalTime>
  <Words>633</Words>
  <Application>Microsoft Macintosh PowerPoint</Application>
  <PresentationFormat>A4 Paper (210x297 mm)</PresentationFormat>
  <Paragraphs>161</Paragraphs>
  <Slides>37</Slides>
  <Notes>0</Notes>
  <HiddenSlides>0</HiddenSlides>
  <MMClips>0</MMClips>
  <ScaleCrop>false</ScaleCrop>
  <HeadingPairs>
    <vt:vector size="4" baseType="variant">
      <vt:variant>
        <vt:lpstr>Design Template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38" baseType="lpstr">
      <vt:lpstr>디자인 사용자 지정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</vt:vector>
  </TitlesOfParts>
  <Manager/>
  <Company/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S_FOSS4G</dc:title>
  <dc:subject/>
  <dc:creator>Shin, Sanghee</dc:creator>
  <cp:keywords/>
  <dc:description/>
  <cp:lastModifiedBy>Sanghee Shin</cp:lastModifiedBy>
  <cp:revision>456</cp:revision>
  <cp:lastPrinted>2010-11-25T07:31:37Z</cp:lastPrinted>
  <dcterms:created xsi:type="dcterms:W3CDTF">2011-10-30T21:29:41Z</dcterms:created>
  <dcterms:modified xsi:type="dcterms:W3CDTF">2011-10-30T21:37:01Z</dcterms:modified>
  <cp:category/>
</cp:coreProperties>
</file>